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1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56" r:id="rId2"/>
    <p:sldId id="770" r:id="rId3"/>
    <p:sldId id="257" r:id="rId4"/>
    <p:sldId id="764" r:id="rId5"/>
    <p:sldId id="767" r:id="rId6"/>
    <p:sldId id="762" r:id="rId7"/>
    <p:sldId id="768" r:id="rId8"/>
    <p:sldId id="769" r:id="rId9"/>
    <p:sldId id="763" r:id="rId10"/>
    <p:sldId id="761" r:id="rId11"/>
    <p:sldId id="771" r:id="rId12"/>
    <p:sldId id="772" r:id="rId13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2A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83A2E3E-C418-4B96-94A8-541B04A6908A}" v="2" dt="2023-10-10T05:39:35.6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25E5076-3810-47DD-B79F-674D7AD40C01}" styleName="Tmavý styl 1 – zvýraznění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ek Ondroušek" userId="f8fabe81f0fdfbca" providerId="LiveId" clId="{183A2E3E-C418-4B96-94A8-541B04A6908A}"/>
    <pc:docChg chg="modNotesMaster">
      <pc:chgData name="Marek Ondroušek" userId="f8fabe81f0fdfbca" providerId="LiveId" clId="{183A2E3E-C418-4B96-94A8-541B04A6908A}" dt="2023-10-10T05:39:35.697" v="1"/>
      <pc:docMkLst>
        <pc:docMk/>
      </pc:docMkLst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svg"/><Relationship Id="rId1" Type="http://schemas.openxmlformats.org/officeDocument/2006/relationships/image" Target="../media/image3.png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svg"/><Relationship Id="rId1" Type="http://schemas.openxmlformats.org/officeDocument/2006/relationships/image" Target="../media/image3.png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DF0C621-6868-4C7F-A8B7-D4D5BA8806D3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87789B6-9D8F-4D46-9D68-A485B2C260FA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cs-CZ" sz="1800" dirty="0"/>
            <a:t>Dne 27. prosince 2022 bylo zveřejněno v Úředním věstníku Evropské unie konečné oficiální znění směrnice NIS2 (Network and </a:t>
          </a:r>
          <a:r>
            <a:rPr lang="cs-CZ" sz="1800" dirty="0" err="1"/>
            <a:t>Information</a:t>
          </a:r>
          <a:r>
            <a:rPr lang="cs-CZ" sz="1800" dirty="0"/>
            <a:t> </a:t>
          </a:r>
          <a:r>
            <a:rPr lang="cs-CZ" sz="1800" dirty="0" err="1"/>
            <a:t>Security</a:t>
          </a:r>
          <a:r>
            <a:rPr lang="cs-CZ" sz="1800" dirty="0"/>
            <a:t> 2)</a:t>
          </a:r>
          <a:endParaRPr lang="en-US" sz="1800" dirty="0"/>
        </a:p>
      </dgm:t>
    </dgm:pt>
    <dgm:pt modelId="{79AEA435-A999-40D9-BB07-7B7A64AE96BD}" type="parTrans" cxnId="{FCBC45A6-DAFE-4E93-B2C5-D50301D4D0A5}">
      <dgm:prSet/>
      <dgm:spPr/>
      <dgm:t>
        <a:bodyPr/>
        <a:lstStyle/>
        <a:p>
          <a:endParaRPr lang="en-US"/>
        </a:p>
      </dgm:t>
    </dgm:pt>
    <dgm:pt modelId="{D18151BD-F16D-4E44-8448-FDAC31A5DC50}" type="sibTrans" cxnId="{FCBC45A6-DAFE-4E93-B2C5-D50301D4D0A5}">
      <dgm:prSet/>
      <dgm:spPr/>
      <dgm:t>
        <a:bodyPr/>
        <a:lstStyle/>
        <a:p>
          <a:endParaRPr lang="en-US"/>
        </a:p>
      </dgm:t>
    </dgm:pt>
    <dgm:pt modelId="{2760B24E-7F3F-460D-917E-4FD23CB87C0F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dirty="0"/>
            <a:t>Směrnice NIS2 přináší mnoho změn v oblasti zajišťování kybernetické bezpečnosti a týká se nejen organizací, které jsou již nyní podle aktuálního zákona o kybernetické, ale i velkého množství organizací, které budou do regulace spadat nově a do dnešního dne žádné povinnosti plnit nemusely. </a:t>
          </a:r>
          <a:endParaRPr lang="en-US" dirty="0"/>
        </a:p>
      </dgm:t>
    </dgm:pt>
    <dgm:pt modelId="{5BD0A0B9-FAF0-4E91-A748-7CF07C7308CD}" type="parTrans" cxnId="{73B7B745-8A3D-498F-BF3D-FBA5AC180C88}">
      <dgm:prSet/>
      <dgm:spPr/>
      <dgm:t>
        <a:bodyPr/>
        <a:lstStyle/>
        <a:p>
          <a:endParaRPr lang="en-US"/>
        </a:p>
      </dgm:t>
    </dgm:pt>
    <dgm:pt modelId="{47951BEF-9134-45F6-8D8D-8F7E89C8AADE}" type="sibTrans" cxnId="{73B7B745-8A3D-498F-BF3D-FBA5AC180C88}">
      <dgm:prSet/>
      <dgm:spPr/>
      <dgm:t>
        <a:bodyPr/>
        <a:lstStyle/>
        <a:p>
          <a:endParaRPr lang="en-US"/>
        </a:p>
      </dgm:t>
    </dgm:pt>
    <dgm:pt modelId="{8870B066-5761-4B6D-9655-A7E17C2F1CEF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cs-CZ" sz="1800" dirty="0"/>
            <a:t>Směrnice nastavuje regulaci na dva druhy subjektů</a:t>
          </a:r>
          <a:r>
            <a:rPr lang="cs-CZ" sz="1800" b="1" dirty="0"/>
            <a:t>: základní subjekt a důležitý subjekt. </a:t>
          </a:r>
          <a:endParaRPr lang="en-US" sz="1800" dirty="0"/>
        </a:p>
      </dgm:t>
    </dgm:pt>
    <dgm:pt modelId="{E347E6EF-22B5-4935-8FA0-532D9F5D8C56}" type="parTrans" cxnId="{E74127A7-5BCF-4D3A-8B5E-47E0DD18E19C}">
      <dgm:prSet/>
      <dgm:spPr/>
      <dgm:t>
        <a:bodyPr/>
        <a:lstStyle/>
        <a:p>
          <a:endParaRPr lang="en-US"/>
        </a:p>
      </dgm:t>
    </dgm:pt>
    <dgm:pt modelId="{36E9FA41-989C-44B4-A834-92639E0F7176}" type="sibTrans" cxnId="{E74127A7-5BCF-4D3A-8B5E-47E0DD18E19C}">
      <dgm:prSet/>
      <dgm:spPr/>
      <dgm:t>
        <a:bodyPr/>
        <a:lstStyle/>
        <a:p>
          <a:endParaRPr lang="en-US"/>
        </a:p>
      </dgm:t>
    </dgm:pt>
    <dgm:pt modelId="{5C468E08-CA94-4527-96D2-5B3599AD4D01}" type="pres">
      <dgm:prSet presAssocID="{CDF0C621-6868-4C7F-A8B7-D4D5BA8806D3}" presName="root" presStyleCnt="0">
        <dgm:presLayoutVars>
          <dgm:dir/>
          <dgm:resizeHandles val="exact"/>
        </dgm:presLayoutVars>
      </dgm:prSet>
      <dgm:spPr/>
    </dgm:pt>
    <dgm:pt modelId="{66E7F8D4-33F0-487E-872C-1ABE83551C1D}" type="pres">
      <dgm:prSet presAssocID="{387789B6-9D8F-4D46-9D68-A485B2C260FA}" presName="compNode" presStyleCnt="0"/>
      <dgm:spPr/>
    </dgm:pt>
    <dgm:pt modelId="{A3B19A8D-33EE-4481-8EFD-1BF5583F17A4}" type="pres">
      <dgm:prSet presAssocID="{387789B6-9D8F-4D46-9D68-A485B2C260FA}" presName="bgRect" presStyleLbl="bgShp" presStyleIdx="0" presStyleCnt="3"/>
      <dgm:spPr/>
    </dgm:pt>
    <dgm:pt modelId="{C977D1F4-8DED-4706-8DFC-D9C6B8A39006}" type="pres">
      <dgm:prSet presAssocID="{387789B6-9D8F-4D46-9D68-A485B2C260FA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Dokument"/>
        </a:ext>
      </dgm:extLst>
    </dgm:pt>
    <dgm:pt modelId="{7D832F9D-42B8-4E34-A43F-FA4EDE1F5B60}" type="pres">
      <dgm:prSet presAssocID="{387789B6-9D8F-4D46-9D68-A485B2C260FA}" presName="spaceRect" presStyleCnt="0"/>
      <dgm:spPr/>
    </dgm:pt>
    <dgm:pt modelId="{8DD0786B-0054-4C54-8C4D-9CF38803EEE3}" type="pres">
      <dgm:prSet presAssocID="{387789B6-9D8F-4D46-9D68-A485B2C260FA}" presName="parTx" presStyleLbl="revTx" presStyleIdx="0" presStyleCnt="3">
        <dgm:presLayoutVars>
          <dgm:chMax val="0"/>
          <dgm:chPref val="0"/>
        </dgm:presLayoutVars>
      </dgm:prSet>
      <dgm:spPr/>
    </dgm:pt>
    <dgm:pt modelId="{5F6D45F0-B0E5-495D-9893-A07C26AFD8D1}" type="pres">
      <dgm:prSet presAssocID="{D18151BD-F16D-4E44-8448-FDAC31A5DC50}" presName="sibTrans" presStyleCnt="0"/>
      <dgm:spPr/>
    </dgm:pt>
    <dgm:pt modelId="{07E0133B-AA7A-489F-8F22-086B57E7C54E}" type="pres">
      <dgm:prSet presAssocID="{2760B24E-7F3F-460D-917E-4FD23CB87C0F}" presName="compNode" presStyleCnt="0"/>
      <dgm:spPr/>
    </dgm:pt>
    <dgm:pt modelId="{26A082F9-EA0F-41B9-BFDE-BE8A76732004}" type="pres">
      <dgm:prSet presAssocID="{2760B24E-7F3F-460D-917E-4FD23CB87C0F}" presName="bgRect" presStyleLbl="bgShp" presStyleIdx="1" presStyleCnt="3"/>
      <dgm:spPr/>
    </dgm:pt>
    <dgm:pt modelId="{0EC8AE21-99D8-4528-A50C-38240A10878B}" type="pres">
      <dgm:prSet presAssocID="{2760B24E-7F3F-460D-917E-4FD23CB87C0F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Zaškrtnutí"/>
        </a:ext>
      </dgm:extLst>
    </dgm:pt>
    <dgm:pt modelId="{663735C6-B330-4303-8EE8-8FC35F5169BD}" type="pres">
      <dgm:prSet presAssocID="{2760B24E-7F3F-460D-917E-4FD23CB87C0F}" presName="spaceRect" presStyleCnt="0"/>
      <dgm:spPr/>
    </dgm:pt>
    <dgm:pt modelId="{22B00EF7-85FA-41CB-8048-1D6E77EBC475}" type="pres">
      <dgm:prSet presAssocID="{2760B24E-7F3F-460D-917E-4FD23CB87C0F}" presName="parTx" presStyleLbl="revTx" presStyleIdx="1" presStyleCnt="3">
        <dgm:presLayoutVars>
          <dgm:chMax val="0"/>
          <dgm:chPref val="0"/>
        </dgm:presLayoutVars>
      </dgm:prSet>
      <dgm:spPr/>
    </dgm:pt>
    <dgm:pt modelId="{6A3AB6C0-B535-41AD-9120-07C9F65340A8}" type="pres">
      <dgm:prSet presAssocID="{47951BEF-9134-45F6-8D8D-8F7E89C8AADE}" presName="sibTrans" presStyleCnt="0"/>
      <dgm:spPr/>
    </dgm:pt>
    <dgm:pt modelId="{06F757D6-3804-42AF-84AE-8DB3CE31D586}" type="pres">
      <dgm:prSet presAssocID="{8870B066-5761-4B6D-9655-A7E17C2F1CEF}" presName="compNode" presStyleCnt="0"/>
      <dgm:spPr/>
    </dgm:pt>
    <dgm:pt modelId="{28070B5A-A6A8-4B71-8183-4C8041B78008}" type="pres">
      <dgm:prSet presAssocID="{8870B066-5761-4B6D-9655-A7E17C2F1CEF}" presName="bgRect" presStyleLbl="bgShp" presStyleIdx="2" presStyleCnt="3"/>
      <dgm:spPr/>
    </dgm:pt>
    <dgm:pt modelId="{CE484AB0-83E9-46D7-BA6D-EF982636E28C}" type="pres">
      <dgm:prSet presAssocID="{8870B066-5761-4B6D-9655-A7E17C2F1CEF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oudce"/>
        </a:ext>
      </dgm:extLst>
    </dgm:pt>
    <dgm:pt modelId="{7E61A436-38FD-4ADA-954C-C1124CFE7339}" type="pres">
      <dgm:prSet presAssocID="{8870B066-5761-4B6D-9655-A7E17C2F1CEF}" presName="spaceRect" presStyleCnt="0"/>
      <dgm:spPr/>
    </dgm:pt>
    <dgm:pt modelId="{BA321D4A-6B32-4131-B9EF-BAF56450036D}" type="pres">
      <dgm:prSet presAssocID="{8870B066-5761-4B6D-9655-A7E17C2F1CEF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41E2AE00-1F02-4108-AAEB-613815AC3B7D}" type="presOf" srcId="{CDF0C621-6868-4C7F-A8B7-D4D5BA8806D3}" destId="{5C468E08-CA94-4527-96D2-5B3599AD4D01}" srcOrd="0" destOrd="0" presId="urn:microsoft.com/office/officeart/2018/2/layout/IconVerticalSolidList"/>
    <dgm:cxn modelId="{EFD17409-EA6B-40AB-B357-682D30B19116}" type="presOf" srcId="{387789B6-9D8F-4D46-9D68-A485B2C260FA}" destId="{8DD0786B-0054-4C54-8C4D-9CF38803EEE3}" srcOrd="0" destOrd="0" presId="urn:microsoft.com/office/officeart/2018/2/layout/IconVerticalSolidList"/>
    <dgm:cxn modelId="{7ADA9921-0927-421C-BA78-AA94BFDA985D}" type="presOf" srcId="{2760B24E-7F3F-460D-917E-4FD23CB87C0F}" destId="{22B00EF7-85FA-41CB-8048-1D6E77EBC475}" srcOrd="0" destOrd="0" presId="urn:microsoft.com/office/officeart/2018/2/layout/IconVerticalSolidList"/>
    <dgm:cxn modelId="{73B7B745-8A3D-498F-BF3D-FBA5AC180C88}" srcId="{CDF0C621-6868-4C7F-A8B7-D4D5BA8806D3}" destId="{2760B24E-7F3F-460D-917E-4FD23CB87C0F}" srcOrd="1" destOrd="0" parTransId="{5BD0A0B9-FAF0-4E91-A748-7CF07C7308CD}" sibTransId="{47951BEF-9134-45F6-8D8D-8F7E89C8AADE}"/>
    <dgm:cxn modelId="{FCBC45A6-DAFE-4E93-B2C5-D50301D4D0A5}" srcId="{CDF0C621-6868-4C7F-A8B7-D4D5BA8806D3}" destId="{387789B6-9D8F-4D46-9D68-A485B2C260FA}" srcOrd="0" destOrd="0" parTransId="{79AEA435-A999-40D9-BB07-7B7A64AE96BD}" sibTransId="{D18151BD-F16D-4E44-8448-FDAC31A5DC50}"/>
    <dgm:cxn modelId="{E74127A7-5BCF-4D3A-8B5E-47E0DD18E19C}" srcId="{CDF0C621-6868-4C7F-A8B7-D4D5BA8806D3}" destId="{8870B066-5761-4B6D-9655-A7E17C2F1CEF}" srcOrd="2" destOrd="0" parTransId="{E347E6EF-22B5-4935-8FA0-532D9F5D8C56}" sibTransId="{36E9FA41-989C-44B4-A834-92639E0F7176}"/>
    <dgm:cxn modelId="{7F7E37EC-8DB2-4F39-9525-577B59BEF2F4}" type="presOf" srcId="{8870B066-5761-4B6D-9655-A7E17C2F1CEF}" destId="{BA321D4A-6B32-4131-B9EF-BAF56450036D}" srcOrd="0" destOrd="0" presId="urn:microsoft.com/office/officeart/2018/2/layout/IconVerticalSolidList"/>
    <dgm:cxn modelId="{52A0E1AC-FA9C-401F-A721-A86833BC5CD0}" type="presParOf" srcId="{5C468E08-CA94-4527-96D2-5B3599AD4D01}" destId="{66E7F8D4-33F0-487E-872C-1ABE83551C1D}" srcOrd="0" destOrd="0" presId="urn:microsoft.com/office/officeart/2018/2/layout/IconVerticalSolidList"/>
    <dgm:cxn modelId="{A09517D6-31C3-43DC-914A-FA4881F473E7}" type="presParOf" srcId="{66E7F8D4-33F0-487E-872C-1ABE83551C1D}" destId="{A3B19A8D-33EE-4481-8EFD-1BF5583F17A4}" srcOrd="0" destOrd="0" presId="urn:microsoft.com/office/officeart/2018/2/layout/IconVerticalSolidList"/>
    <dgm:cxn modelId="{407EFF1E-AC38-46EE-B321-BDDCC5BFF1C1}" type="presParOf" srcId="{66E7F8D4-33F0-487E-872C-1ABE83551C1D}" destId="{C977D1F4-8DED-4706-8DFC-D9C6B8A39006}" srcOrd="1" destOrd="0" presId="urn:microsoft.com/office/officeart/2018/2/layout/IconVerticalSolidList"/>
    <dgm:cxn modelId="{21BFDDE6-A62C-492A-B601-41C147A9FB1B}" type="presParOf" srcId="{66E7F8D4-33F0-487E-872C-1ABE83551C1D}" destId="{7D832F9D-42B8-4E34-A43F-FA4EDE1F5B60}" srcOrd="2" destOrd="0" presId="urn:microsoft.com/office/officeart/2018/2/layout/IconVerticalSolidList"/>
    <dgm:cxn modelId="{2F234AF7-38A7-45FE-9EDE-9C3EC7C008FB}" type="presParOf" srcId="{66E7F8D4-33F0-487E-872C-1ABE83551C1D}" destId="{8DD0786B-0054-4C54-8C4D-9CF38803EEE3}" srcOrd="3" destOrd="0" presId="urn:microsoft.com/office/officeart/2018/2/layout/IconVerticalSolidList"/>
    <dgm:cxn modelId="{11D2AA96-CF03-4A7B-B63A-25A5473C2ECE}" type="presParOf" srcId="{5C468E08-CA94-4527-96D2-5B3599AD4D01}" destId="{5F6D45F0-B0E5-495D-9893-A07C26AFD8D1}" srcOrd="1" destOrd="0" presId="urn:microsoft.com/office/officeart/2018/2/layout/IconVerticalSolidList"/>
    <dgm:cxn modelId="{29EF6456-1F98-4642-923B-58A86684A24C}" type="presParOf" srcId="{5C468E08-CA94-4527-96D2-5B3599AD4D01}" destId="{07E0133B-AA7A-489F-8F22-086B57E7C54E}" srcOrd="2" destOrd="0" presId="urn:microsoft.com/office/officeart/2018/2/layout/IconVerticalSolidList"/>
    <dgm:cxn modelId="{C6FC316A-947E-4A65-9DD2-8294D1D589AD}" type="presParOf" srcId="{07E0133B-AA7A-489F-8F22-086B57E7C54E}" destId="{26A082F9-EA0F-41B9-BFDE-BE8A76732004}" srcOrd="0" destOrd="0" presId="urn:microsoft.com/office/officeart/2018/2/layout/IconVerticalSolidList"/>
    <dgm:cxn modelId="{C69B8715-B3EB-408A-8468-47CDB31C8B44}" type="presParOf" srcId="{07E0133B-AA7A-489F-8F22-086B57E7C54E}" destId="{0EC8AE21-99D8-4528-A50C-38240A10878B}" srcOrd="1" destOrd="0" presId="urn:microsoft.com/office/officeart/2018/2/layout/IconVerticalSolidList"/>
    <dgm:cxn modelId="{7F85FCDC-F1D2-45E0-AE9A-DBF349B77DBE}" type="presParOf" srcId="{07E0133B-AA7A-489F-8F22-086B57E7C54E}" destId="{663735C6-B330-4303-8EE8-8FC35F5169BD}" srcOrd="2" destOrd="0" presId="urn:microsoft.com/office/officeart/2018/2/layout/IconVerticalSolidList"/>
    <dgm:cxn modelId="{D4ED11F5-832B-4992-807D-C579DBC8B8E8}" type="presParOf" srcId="{07E0133B-AA7A-489F-8F22-086B57E7C54E}" destId="{22B00EF7-85FA-41CB-8048-1D6E77EBC475}" srcOrd="3" destOrd="0" presId="urn:microsoft.com/office/officeart/2018/2/layout/IconVerticalSolidList"/>
    <dgm:cxn modelId="{43E019D3-FDE7-4530-9D4F-2A3658C2D59F}" type="presParOf" srcId="{5C468E08-CA94-4527-96D2-5B3599AD4D01}" destId="{6A3AB6C0-B535-41AD-9120-07C9F65340A8}" srcOrd="3" destOrd="0" presId="urn:microsoft.com/office/officeart/2018/2/layout/IconVerticalSolidList"/>
    <dgm:cxn modelId="{FAE3B469-2CCC-4B73-87B6-1746E9D56A27}" type="presParOf" srcId="{5C468E08-CA94-4527-96D2-5B3599AD4D01}" destId="{06F757D6-3804-42AF-84AE-8DB3CE31D586}" srcOrd="4" destOrd="0" presId="urn:microsoft.com/office/officeart/2018/2/layout/IconVerticalSolidList"/>
    <dgm:cxn modelId="{00EB82DD-2A26-464C-98EF-B01F18C5071A}" type="presParOf" srcId="{06F757D6-3804-42AF-84AE-8DB3CE31D586}" destId="{28070B5A-A6A8-4B71-8183-4C8041B78008}" srcOrd="0" destOrd="0" presId="urn:microsoft.com/office/officeart/2018/2/layout/IconVerticalSolidList"/>
    <dgm:cxn modelId="{06059C65-619E-4494-8839-6ECCC030FF1B}" type="presParOf" srcId="{06F757D6-3804-42AF-84AE-8DB3CE31D586}" destId="{CE484AB0-83E9-46D7-BA6D-EF982636E28C}" srcOrd="1" destOrd="0" presId="urn:microsoft.com/office/officeart/2018/2/layout/IconVerticalSolidList"/>
    <dgm:cxn modelId="{8E893E9D-1B7A-4815-94A4-631CEB15719C}" type="presParOf" srcId="{06F757D6-3804-42AF-84AE-8DB3CE31D586}" destId="{7E61A436-38FD-4ADA-954C-C1124CFE7339}" srcOrd="2" destOrd="0" presId="urn:microsoft.com/office/officeart/2018/2/layout/IconVerticalSolidList"/>
    <dgm:cxn modelId="{5F231B3A-5641-489B-8D37-6981168FE203}" type="presParOf" srcId="{06F757D6-3804-42AF-84AE-8DB3CE31D586}" destId="{BA321D4A-6B32-4131-B9EF-BAF56450036D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991C199-5540-44A3-A1F4-B50F2CC3C4D5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A6A6B50-D893-48C9-B109-398619144B0F}">
      <dgm:prSet/>
      <dgm:spPr/>
      <dgm:t>
        <a:bodyPr/>
        <a:lstStyle/>
        <a:p>
          <a:pPr>
            <a:lnSpc>
              <a:spcPct val="100000"/>
            </a:lnSpc>
          </a:pPr>
          <a:endParaRPr lang="cs-CZ" dirty="0"/>
        </a:p>
        <a:p>
          <a:pPr>
            <a:lnSpc>
              <a:spcPct val="100000"/>
            </a:lnSpc>
          </a:pPr>
          <a:r>
            <a:rPr lang="cs-CZ" dirty="0"/>
            <a:t>V potravinářském průmyslu jsou zahrnuty regulované služby související </a:t>
          </a:r>
          <a:r>
            <a:rPr lang="cs-CZ" b="0" dirty="0"/>
            <a:t>s</a:t>
          </a:r>
          <a:r>
            <a:rPr lang="cs-CZ" b="1" dirty="0"/>
            <a:t> 8.1 výrobou potravin, 8.2 zpracováním potravin a 8.3 distribucí potravin. </a:t>
          </a:r>
          <a:endParaRPr lang="en-US" b="1" dirty="0"/>
        </a:p>
      </dgm:t>
    </dgm:pt>
    <dgm:pt modelId="{3F22C86B-F152-4DE1-B31F-518D1F46C639}" type="parTrans" cxnId="{51793E68-755A-4573-9034-400818B99CF6}">
      <dgm:prSet/>
      <dgm:spPr/>
      <dgm:t>
        <a:bodyPr/>
        <a:lstStyle/>
        <a:p>
          <a:endParaRPr lang="en-US"/>
        </a:p>
      </dgm:t>
    </dgm:pt>
    <dgm:pt modelId="{06BC3AF8-A1D1-4C14-9ACF-D0CA3060D55B}" type="sibTrans" cxnId="{51793E68-755A-4573-9034-400818B99CF6}">
      <dgm:prSet/>
      <dgm:spPr/>
      <dgm:t>
        <a:bodyPr/>
        <a:lstStyle/>
        <a:p>
          <a:endParaRPr lang="en-US"/>
        </a:p>
      </dgm:t>
    </dgm:pt>
    <dgm:pt modelId="{37D57543-92E7-465B-8F35-0CC7D63740CE}">
      <dgm:prSet/>
      <dgm:spPr/>
      <dgm:t>
        <a:bodyPr/>
        <a:lstStyle/>
        <a:p>
          <a:pPr>
            <a:lnSpc>
              <a:spcPct val="100000"/>
            </a:lnSpc>
          </a:pPr>
          <a:r>
            <a:rPr lang="cs-CZ"/>
            <a:t>Směrnice NIS2 přináší mnoho změn v oblasti zajišťování kybernetické bezpečnosti nejen organizací, které jsou již nyní podle aktuálního zákona ti povinny své systémy zabezpečovat, ale i velkého množství organizací, které budou do regulace spadat nově a do dnešního dne žádné povinnosti plnit nemusely. </a:t>
          </a:r>
          <a:endParaRPr lang="en-US" dirty="0"/>
        </a:p>
      </dgm:t>
    </dgm:pt>
    <dgm:pt modelId="{C4F810E9-9DBE-4494-A076-FCC495A6A7AA}" type="parTrans" cxnId="{847276ED-3D35-462A-A02F-2A95E8216FD3}">
      <dgm:prSet/>
      <dgm:spPr/>
      <dgm:t>
        <a:bodyPr/>
        <a:lstStyle/>
        <a:p>
          <a:endParaRPr lang="en-US"/>
        </a:p>
      </dgm:t>
    </dgm:pt>
    <dgm:pt modelId="{5F7711C0-DAF9-4C33-A61E-87E4795DDB73}" type="sibTrans" cxnId="{847276ED-3D35-462A-A02F-2A95E8216FD3}">
      <dgm:prSet/>
      <dgm:spPr/>
      <dgm:t>
        <a:bodyPr/>
        <a:lstStyle/>
        <a:p>
          <a:endParaRPr lang="en-US"/>
        </a:p>
      </dgm:t>
    </dgm:pt>
    <dgm:pt modelId="{642F6200-6C12-4832-9C51-7FEBBBA1F87A}">
      <dgm:prSet/>
      <dgm:spPr/>
      <dgm:t>
        <a:bodyPr/>
        <a:lstStyle/>
        <a:p>
          <a:pPr>
            <a:lnSpc>
              <a:spcPct val="100000"/>
            </a:lnSpc>
          </a:pPr>
          <a:endParaRPr lang="cs-CZ" dirty="0"/>
        </a:p>
        <a:p>
          <a:pPr>
            <a:lnSpc>
              <a:spcPct val="100000"/>
            </a:lnSpc>
          </a:pPr>
          <a:r>
            <a:rPr lang="cs-CZ" dirty="0"/>
            <a:t>Směrnice nastavuje regulaci na dva druhy subjektů</a:t>
          </a:r>
          <a:r>
            <a:rPr lang="cs-CZ" b="1" dirty="0"/>
            <a:t>: </a:t>
          </a:r>
        </a:p>
        <a:p>
          <a:pPr>
            <a:lnSpc>
              <a:spcPct val="100000"/>
            </a:lnSpc>
          </a:pPr>
          <a:r>
            <a:rPr lang="cs-CZ" b="1" dirty="0"/>
            <a:t>základní subjekt a důležitý subjekt.</a:t>
          </a:r>
        </a:p>
        <a:p>
          <a:pPr>
            <a:lnSpc>
              <a:spcPct val="100000"/>
            </a:lnSpc>
          </a:pPr>
          <a:r>
            <a:rPr lang="cs-CZ" b="1" dirty="0"/>
            <a:t>Potravinářství = důležité subjekty</a:t>
          </a:r>
          <a:endParaRPr lang="en-US" dirty="0"/>
        </a:p>
      </dgm:t>
    </dgm:pt>
    <dgm:pt modelId="{8CF900CD-73DF-4AB0-90EE-B12605882151}" type="parTrans" cxnId="{8C25C09F-A751-4A80-A534-D05DCC84F38D}">
      <dgm:prSet/>
      <dgm:spPr/>
      <dgm:t>
        <a:bodyPr/>
        <a:lstStyle/>
        <a:p>
          <a:endParaRPr lang="en-US"/>
        </a:p>
      </dgm:t>
    </dgm:pt>
    <dgm:pt modelId="{93DCD3F1-358F-4A4F-8FFA-80F0CA952DC1}" type="sibTrans" cxnId="{8C25C09F-A751-4A80-A534-D05DCC84F38D}">
      <dgm:prSet/>
      <dgm:spPr/>
      <dgm:t>
        <a:bodyPr/>
        <a:lstStyle/>
        <a:p>
          <a:endParaRPr lang="en-US"/>
        </a:p>
      </dgm:t>
    </dgm:pt>
    <dgm:pt modelId="{81205701-C084-491C-B916-63F6C72AEDB1}" type="pres">
      <dgm:prSet presAssocID="{D991C199-5540-44A3-A1F4-B50F2CC3C4D5}" presName="vert0" presStyleCnt="0">
        <dgm:presLayoutVars>
          <dgm:dir/>
          <dgm:animOne val="branch"/>
          <dgm:animLvl val="lvl"/>
        </dgm:presLayoutVars>
      </dgm:prSet>
      <dgm:spPr/>
    </dgm:pt>
    <dgm:pt modelId="{0F14FEEA-BBA9-47CD-854C-E8EBB98907CC}" type="pres">
      <dgm:prSet presAssocID="{EA6A6B50-D893-48C9-B109-398619144B0F}" presName="thickLine" presStyleLbl="alignNode1" presStyleIdx="0" presStyleCnt="3"/>
      <dgm:spPr/>
    </dgm:pt>
    <dgm:pt modelId="{DD1A88CD-FCC6-4D29-B60D-5E0ED2AAA09B}" type="pres">
      <dgm:prSet presAssocID="{EA6A6B50-D893-48C9-B109-398619144B0F}" presName="horz1" presStyleCnt="0"/>
      <dgm:spPr/>
    </dgm:pt>
    <dgm:pt modelId="{C8C55069-53B3-4B2E-86CA-9A65C999C28A}" type="pres">
      <dgm:prSet presAssocID="{EA6A6B50-D893-48C9-B109-398619144B0F}" presName="tx1" presStyleLbl="revTx" presStyleIdx="0" presStyleCnt="3"/>
      <dgm:spPr/>
    </dgm:pt>
    <dgm:pt modelId="{F90A318A-810D-4F07-BA62-8AD6C0FF9883}" type="pres">
      <dgm:prSet presAssocID="{EA6A6B50-D893-48C9-B109-398619144B0F}" presName="vert1" presStyleCnt="0"/>
      <dgm:spPr/>
    </dgm:pt>
    <dgm:pt modelId="{7B4841DF-3DE9-4220-B99F-96FCDA7F80F8}" type="pres">
      <dgm:prSet presAssocID="{37D57543-92E7-465B-8F35-0CC7D63740CE}" presName="thickLine" presStyleLbl="alignNode1" presStyleIdx="1" presStyleCnt="3"/>
      <dgm:spPr/>
    </dgm:pt>
    <dgm:pt modelId="{93A68A6D-7523-4FC5-B7DC-BDD7AE38EB9C}" type="pres">
      <dgm:prSet presAssocID="{37D57543-92E7-465B-8F35-0CC7D63740CE}" presName="horz1" presStyleCnt="0"/>
      <dgm:spPr/>
    </dgm:pt>
    <dgm:pt modelId="{8DECE859-B413-4081-9170-253DDC0ED45D}" type="pres">
      <dgm:prSet presAssocID="{37D57543-92E7-465B-8F35-0CC7D63740CE}" presName="tx1" presStyleLbl="revTx" presStyleIdx="1" presStyleCnt="3"/>
      <dgm:spPr/>
    </dgm:pt>
    <dgm:pt modelId="{5BC5B675-D7DC-442E-AA02-7594D78B457D}" type="pres">
      <dgm:prSet presAssocID="{37D57543-92E7-465B-8F35-0CC7D63740CE}" presName="vert1" presStyleCnt="0"/>
      <dgm:spPr/>
    </dgm:pt>
    <dgm:pt modelId="{07043A94-E65B-4DB5-9FA1-352EA3377800}" type="pres">
      <dgm:prSet presAssocID="{642F6200-6C12-4832-9C51-7FEBBBA1F87A}" presName="thickLine" presStyleLbl="alignNode1" presStyleIdx="2" presStyleCnt="3"/>
      <dgm:spPr/>
    </dgm:pt>
    <dgm:pt modelId="{A2CB336D-E025-46CF-B67C-E004843C7491}" type="pres">
      <dgm:prSet presAssocID="{642F6200-6C12-4832-9C51-7FEBBBA1F87A}" presName="horz1" presStyleCnt="0"/>
      <dgm:spPr/>
    </dgm:pt>
    <dgm:pt modelId="{52F2B816-9E3E-4634-888A-C6DD955BB566}" type="pres">
      <dgm:prSet presAssocID="{642F6200-6C12-4832-9C51-7FEBBBA1F87A}" presName="tx1" presStyleLbl="revTx" presStyleIdx="2" presStyleCnt="3"/>
      <dgm:spPr/>
    </dgm:pt>
    <dgm:pt modelId="{E2663B7D-62AE-4DE8-AB23-B7865D059B10}" type="pres">
      <dgm:prSet presAssocID="{642F6200-6C12-4832-9C51-7FEBBBA1F87A}" presName="vert1" presStyleCnt="0"/>
      <dgm:spPr/>
    </dgm:pt>
  </dgm:ptLst>
  <dgm:cxnLst>
    <dgm:cxn modelId="{93FD0716-2CB4-4914-B721-E82EDD2D179C}" type="presOf" srcId="{D991C199-5540-44A3-A1F4-B50F2CC3C4D5}" destId="{81205701-C084-491C-B916-63F6C72AEDB1}" srcOrd="0" destOrd="0" presId="urn:microsoft.com/office/officeart/2008/layout/LinedList"/>
    <dgm:cxn modelId="{D89FE025-C0EB-4DA6-9C1E-E46F5513C569}" type="presOf" srcId="{37D57543-92E7-465B-8F35-0CC7D63740CE}" destId="{8DECE859-B413-4081-9170-253DDC0ED45D}" srcOrd="0" destOrd="0" presId="urn:microsoft.com/office/officeart/2008/layout/LinedList"/>
    <dgm:cxn modelId="{8355615B-228E-4639-A865-E160BA870A53}" type="presOf" srcId="{642F6200-6C12-4832-9C51-7FEBBBA1F87A}" destId="{52F2B816-9E3E-4634-888A-C6DD955BB566}" srcOrd="0" destOrd="0" presId="urn:microsoft.com/office/officeart/2008/layout/LinedList"/>
    <dgm:cxn modelId="{51793E68-755A-4573-9034-400818B99CF6}" srcId="{D991C199-5540-44A3-A1F4-B50F2CC3C4D5}" destId="{EA6A6B50-D893-48C9-B109-398619144B0F}" srcOrd="0" destOrd="0" parTransId="{3F22C86B-F152-4DE1-B31F-518D1F46C639}" sibTransId="{06BC3AF8-A1D1-4C14-9ACF-D0CA3060D55B}"/>
    <dgm:cxn modelId="{3568A78B-9DBB-4CF0-82BD-32DBC897F837}" type="presOf" srcId="{EA6A6B50-D893-48C9-B109-398619144B0F}" destId="{C8C55069-53B3-4B2E-86CA-9A65C999C28A}" srcOrd="0" destOrd="0" presId="urn:microsoft.com/office/officeart/2008/layout/LinedList"/>
    <dgm:cxn modelId="{8C25C09F-A751-4A80-A534-D05DCC84F38D}" srcId="{D991C199-5540-44A3-A1F4-B50F2CC3C4D5}" destId="{642F6200-6C12-4832-9C51-7FEBBBA1F87A}" srcOrd="2" destOrd="0" parTransId="{8CF900CD-73DF-4AB0-90EE-B12605882151}" sibTransId="{93DCD3F1-358F-4A4F-8FFA-80F0CA952DC1}"/>
    <dgm:cxn modelId="{847276ED-3D35-462A-A02F-2A95E8216FD3}" srcId="{D991C199-5540-44A3-A1F4-B50F2CC3C4D5}" destId="{37D57543-92E7-465B-8F35-0CC7D63740CE}" srcOrd="1" destOrd="0" parTransId="{C4F810E9-9DBE-4494-A076-FCC495A6A7AA}" sibTransId="{5F7711C0-DAF9-4C33-A61E-87E4795DDB73}"/>
    <dgm:cxn modelId="{46CE8A50-29E3-4D37-87A7-D7C2B492B6D1}" type="presParOf" srcId="{81205701-C084-491C-B916-63F6C72AEDB1}" destId="{0F14FEEA-BBA9-47CD-854C-E8EBB98907CC}" srcOrd="0" destOrd="0" presId="urn:microsoft.com/office/officeart/2008/layout/LinedList"/>
    <dgm:cxn modelId="{77A2C159-99AC-4CB3-8C02-3C80B097DF3D}" type="presParOf" srcId="{81205701-C084-491C-B916-63F6C72AEDB1}" destId="{DD1A88CD-FCC6-4D29-B60D-5E0ED2AAA09B}" srcOrd="1" destOrd="0" presId="urn:microsoft.com/office/officeart/2008/layout/LinedList"/>
    <dgm:cxn modelId="{077CA67F-D65A-46A6-B535-BD386D0BEF88}" type="presParOf" srcId="{DD1A88CD-FCC6-4D29-B60D-5E0ED2AAA09B}" destId="{C8C55069-53B3-4B2E-86CA-9A65C999C28A}" srcOrd="0" destOrd="0" presId="urn:microsoft.com/office/officeart/2008/layout/LinedList"/>
    <dgm:cxn modelId="{5ADE3CF4-8AAC-4D57-B39A-06C07734B09A}" type="presParOf" srcId="{DD1A88CD-FCC6-4D29-B60D-5E0ED2AAA09B}" destId="{F90A318A-810D-4F07-BA62-8AD6C0FF9883}" srcOrd="1" destOrd="0" presId="urn:microsoft.com/office/officeart/2008/layout/LinedList"/>
    <dgm:cxn modelId="{F0FCA44A-D761-4A25-913F-E62B37C7ACAB}" type="presParOf" srcId="{81205701-C084-491C-B916-63F6C72AEDB1}" destId="{7B4841DF-3DE9-4220-B99F-96FCDA7F80F8}" srcOrd="2" destOrd="0" presId="urn:microsoft.com/office/officeart/2008/layout/LinedList"/>
    <dgm:cxn modelId="{6C6D524F-BAA3-4161-8266-B60679FEFAA8}" type="presParOf" srcId="{81205701-C084-491C-B916-63F6C72AEDB1}" destId="{93A68A6D-7523-4FC5-B7DC-BDD7AE38EB9C}" srcOrd="3" destOrd="0" presId="urn:microsoft.com/office/officeart/2008/layout/LinedList"/>
    <dgm:cxn modelId="{8D1ECC3B-7BD5-44C4-9C5C-3FA715A666FC}" type="presParOf" srcId="{93A68A6D-7523-4FC5-B7DC-BDD7AE38EB9C}" destId="{8DECE859-B413-4081-9170-253DDC0ED45D}" srcOrd="0" destOrd="0" presId="urn:microsoft.com/office/officeart/2008/layout/LinedList"/>
    <dgm:cxn modelId="{902ECA98-6D41-4517-9CC3-D3EFD2E9C5B4}" type="presParOf" srcId="{93A68A6D-7523-4FC5-B7DC-BDD7AE38EB9C}" destId="{5BC5B675-D7DC-442E-AA02-7594D78B457D}" srcOrd="1" destOrd="0" presId="urn:microsoft.com/office/officeart/2008/layout/LinedList"/>
    <dgm:cxn modelId="{C4187DC4-A8E9-4CA2-B9F7-55938787B615}" type="presParOf" srcId="{81205701-C084-491C-B916-63F6C72AEDB1}" destId="{07043A94-E65B-4DB5-9FA1-352EA3377800}" srcOrd="4" destOrd="0" presId="urn:microsoft.com/office/officeart/2008/layout/LinedList"/>
    <dgm:cxn modelId="{177F5BDA-01E0-4EBE-841C-A9A4E8C6D1F4}" type="presParOf" srcId="{81205701-C084-491C-B916-63F6C72AEDB1}" destId="{A2CB336D-E025-46CF-B67C-E004843C7491}" srcOrd="5" destOrd="0" presId="urn:microsoft.com/office/officeart/2008/layout/LinedList"/>
    <dgm:cxn modelId="{F1C0C6AE-3000-4710-ADFB-477208F98B80}" type="presParOf" srcId="{A2CB336D-E025-46CF-B67C-E004843C7491}" destId="{52F2B816-9E3E-4634-888A-C6DD955BB566}" srcOrd="0" destOrd="0" presId="urn:microsoft.com/office/officeart/2008/layout/LinedList"/>
    <dgm:cxn modelId="{C48A9396-2877-4FFB-A8D0-E379995C557E}" type="presParOf" srcId="{A2CB336D-E025-46CF-B67C-E004843C7491}" destId="{E2663B7D-62AE-4DE8-AB23-B7865D059B10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0B98A4B-F9A7-43FD-A0AD-0A651391A0F7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9121065-F382-4288-870D-1EF389468EF3}">
      <dgm:prSet custT="1"/>
      <dgm:spPr/>
      <dgm:t>
        <a:bodyPr/>
        <a:lstStyle/>
        <a:p>
          <a:pPr algn="ctr"/>
          <a:r>
            <a:rPr lang="cs-CZ" sz="2400" b="1" dirty="0"/>
            <a:t>Harmonogram implementace NIS 2 v ČR dle NUKIB</a:t>
          </a:r>
          <a:endParaRPr lang="en-US" sz="2400" dirty="0"/>
        </a:p>
      </dgm:t>
    </dgm:pt>
    <dgm:pt modelId="{42958058-7DC7-4772-8BEF-7B072C3BF8CD}" type="parTrans" cxnId="{6E7642A2-D9AF-450B-B483-B0C459916D92}">
      <dgm:prSet/>
      <dgm:spPr/>
      <dgm:t>
        <a:bodyPr/>
        <a:lstStyle/>
        <a:p>
          <a:endParaRPr lang="en-US"/>
        </a:p>
      </dgm:t>
    </dgm:pt>
    <dgm:pt modelId="{6B826299-D79C-410E-A677-094EDF361140}" type="sibTrans" cxnId="{6E7642A2-D9AF-450B-B483-B0C459916D92}">
      <dgm:prSet/>
      <dgm:spPr/>
      <dgm:t>
        <a:bodyPr/>
        <a:lstStyle/>
        <a:p>
          <a:endParaRPr lang="en-US"/>
        </a:p>
      </dgm:t>
    </dgm:pt>
    <dgm:pt modelId="{31D7814A-CAA2-495F-9E59-A63E086CC251}">
      <dgm:prSet/>
      <dgm:spPr/>
      <dgm:t>
        <a:bodyPr/>
        <a:lstStyle/>
        <a:p>
          <a:r>
            <a:rPr lang="cs-CZ" dirty="0"/>
            <a:t>Mezirezortní připomínkové řízení k návrhu zákona bylo ukončeno dne 19.07.2023</a:t>
          </a:r>
          <a:endParaRPr lang="en-US" dirty="0"/>
        </a:p>
      </dgm:t>
    </dgm:pt>
    <dgm:pt modelId="{DF581508-1297-4868-8CD6-8C375256D7D4}" type="parTrans" cxnId="{1C1D988B-73EE-4558-BEC4-8EB6D36732D9}">
      <dgm:prSet/>
      <dgm:spPr/>
      <dgm:t>
        <a:bodyPr/>
        <a:lstStyle/>
        <a:p>
          <a:endParaRPr lang="en-US"/>
        </a:p>
      </dgm:t>
    </dgm:pt>
    <dgm:pt modelId="{C51B4840-EA4D-491D-9CE7-37FAD2E19605}" type="sibTrans" cxnId="{1C1D988B-73EE-4558-BEC4-8EB6D36732D9}">
      <dgm:prSet/>
      <dgm:spPr/>
      <dgm:t>
        <a:bodyPr/>
        <a:lstStyle/>
        <a:p>
          <a:endParaRPr lang="en-US"/>
        </a:p>
      </dgm:t>
    </dgm:pt>
    <dgm:pt modelId="{2D436B2B-7DF7-4A58-BD22-8C39E340FDEB}">
      <dgm:prSet/>
      <dgm:spPr/>
      <dgm:t>
        <a:bodyPr/>
        <a:lstStyle/>
        <a:p>
          <a:r>
            <a:rPr lang="cs-CZ" b="0" i="0" dirty="0"/>
            <a:t>Dalším krokem bude odeslání do legislativní rady vlády v průběhu října, což by znamenalo, že by se </a:t>
          </a:r>
          <a:r>
            <a:rPr lang="cs-CZ" b="1" i="0" dirty="0"/>
            <a:t>vláda návrhem zákona zabývala na začátku ledna 2024.</a:t>
          </a:r>
          <a:endParaRPr lang="en-US" b="1" dirty="0"/>
        </a:p>
      </dgm:t>
    </dgm:pt>
    <dgm:pt modelId="{F2F32F39-54A4-44DD-A199-15B806E26583}" type="parTrans" cxnId="{24799AEF-AB65-4F77-8F07-1B7ECD81BD7A}">
      <dgm:prSet/>
      <dgm:spPr/>
      <dgm:t>
        <a:bodyPr/>
        <a:lstStyle/>
        <a:p>
          <a:endParaRPr lang="en-US"/>
        </a:p>
      </dgm:t>
    </dgm:pt>
    <dgm:pt modelId="{B3B691CF-53FB-4198-A511-544097F62768}" type="sibTrans" cxnId="{24799AEF-AB65-4F77-8F07-1B7ECD81BD7A}">
      <dgm:prSet/>
      <dgm:spPr/>
      <dgm:t>
        <a:bodyPr/>
        <a:lstStyle/>
        <a:p>
          <a:endParaRPr lang="en-US"/>
        </a:p>
      </dgm:t>
    </dgm:pt>
    <dgm:pt modelId="{59DCA4B6-ABA4-4C53-AD1E-288505972A7A}">
      <dgm:prSet/>
      <dgm:spPr/>
      <dgm:t>
        <a:bodyPr/>
        <a:lstStyle/>
        <a:p>
          <a:r>
            <a:rPr lang="cs-CZ" b="1" u="sng" dirty="0"/>
            <a:t>Předložení návrhu zákona do Poslanecké sněmovny Parlamentu České republiky předpokládáme v prvním kvartálu roku 2024</a:t>
          </a:r>
          <a:endParaRPr lang="en-US" dirty="0"/>
        </a:p>
      </dgm:t>
    </dgm:pt>
    <dgm:pt modelId="{87082796-8492-4AE3-A217-4F6ADF47599B}" type="parTrans" cxnId="{B7B5C6BF-AD74-4E48-8B23-344EB48BE530}">
      <dgm:prSet/>
      <dgm:spPr/>
      <dgm:t>
        <a:bodyPr/>
        <a:lstStyle/>
        <a:p>
          <a:endParaRPr lang="en-US"/>
        </a:p>
      </dgm:t>
    </dgm:pt>
    <dgm:pt modelId="{B50E361F-B10A-482B-AD79-35DC52DF92C3}" type="sibTrans" cxnId="{B7B5C6BF-AD74-4E48-8B23-344EB48BE530}">
      <dgm:prSet/>
      <dgm:spPr/>
      <dgm:t>
        <a:bodyPr/>
        <a:lstStyle/>
        <a:p>
          <a:endParaRPr lang="en-US"/>
        </a:p>
      </dgm:t>
    </dgm:pt>
    <dgm:pt modelId="{8EDAD4B8-6DB2-4DD9-BDE7-5DACAC5C06D7}">
      <dgm:prSet/>
      <dgm:spPr/>
      <dgm:t>
        <a:bodyPr/>
        <a:lstStyle/>
        <a:p>
          <a:r>
            <a:rPr lang="cs-CZ" dirty="0"/>
            <a:t>Transpoziční lhůta stanovena evropskou směrnicí NIS2 v rámci které mají být všechny </a:t>
          </a:r>
          <a:r>
            <a:rPr lang="cs-CZ" b="1" dirty="0"/>
            <a:t>legislativní akty účinné je 17. října 2024.</a:t>
          </a:r>
          <a:endParaRPr lang="en-US" dirty="0"/>
        </a:p>
      </dgm:t>
    </dgm:pt>
    <dgm:pt modelId="{5A27397D-5001-47A5-8354-AE403F6C7C4A}" type="parTrans" cxnId="{EC5FC9BF-7044-4D70-863E-2F24D0DF1046}">
      <dgm:prSet/>
      <dgm:spPr/>
      <dgm:t>
        <a:bodyPr/>
        <a:lstStyle/>
        <a:p>
          <a:endParaRPr lang="en-US"/>
        </a:p>
      </dgm:t>
    </dgm:pt>
    <dgm:pt modelId="{0A5D6B06-7759-49E7-A503-DEBD8387E6DF}" type="sibTrans" cxnId="{EC5FC9BF-7044-4D70-863E-2F24D0DF1046}">
      <dgm:prSet/>
      <dgm:spPr/>
      <dgm:t>
        <a:bodyPr/>
        <a:lstStyle/>
        <a:p>
          <a:endParaRPr lang="en-US"/>
        </a:p>
      </dgm:t>
    </dgm:pt>
    <dgm:pt modelId="{D75A16A0-4F63-4342-AD7C-0243DA413691}" type="pres">
      <dgm:prSet presAssocID="{D0B98A4B-F9A7-43FD-A0AD-0A651391A0F7}" presName="vert0" presStyleCnt="0">
        <dgm:presLayoutVars>
          <dgm:dir/>
          <dgm:animOne val="branch"/>
          <dgm:animLvl val="lvl"/>
        </dgm:presLayoutVars>
      </dgm:prSet>
      <dgm:spPr/>
    </dgm:pt>
    <dgm:pt modelId="{72C1E982-FD11-4454-AAC9-FD788DB22D5D}" type="pres">
      <dgm:prSet presAssocID="{19121065-F382-4288-870D-1EF389468EF3}" presName="thickLine" presStyleLbl="alignNode1" presStyleIdx="0" presStyleCnt="5"/>
      <dgm:spPr/>
    </dgm:pt>
    <dgm:pt modelId="{5B81B886-614A-4984-88F4-6111F942D39C}" type="pres">
      <dgm:prSet presAssocID="{19121065-F382-4288-870D-1EF389468EF3}" presName="horz1" presStyleCnt="0"/>
      <dgm:spPr/>
    </dgm:pt>
    <dgm:pt modelId="{14B369EA-A0D4-4E06-9BA1-5C20C38038C7}" type="pres">
      <dgm:prSet presAssocID="{19121065-F382-4288-870D-1EF389468EF3}" presName="tx1" presStyleLbl="revTx" presStyleIdx="0" presStyleCnt="5"/>
      <dgm:spPr/>
    </dgm:pt>
    <dgm:pt modelId="{1D9C3245-E490-417B-81EA-ADFB97F8BA62}" type="pres">
      <dgm:prSet presAssocID="{19121065-F382-4288-870D-1EF389468EF3}" presName="vert1" presStyleCnt="0"/>
      <dgm:spPr/>
    </dgm:pt>
    <dgm:pt modelId="{FD984520-9FB2-4383-87E6-7245BC7037E2}" type="pres">
      <dgm:prSet presAssocID="{31D7814A-CAA2-495F-9E59-A63E086CC251}" presName="thickLine" presStyleLbl="alignNode1" presStyleIdx="1" presStyleCnt="5"/>
      <dgm:spPr/>
    </dgm:pt>
    <dgm:pt modelId="{29738AD1-AF5A-49BF-9E7D-5EDEE1F44FCE}" type="pres">
      <dgm:prSet presAssocID="{31D7814A-CAA2-495F-9E59-A63E086CC251}" presName="horz1" presStyleCnt="0"/>
      <dgm:spPr/>
    </dgm:pt>
    <dgm:pt modelId="{3F90FA95-D4CB-43D1-8B79-8E34CA59E405}" type="pres">
      <dgm:prSet presAssocID="{31D7814A-CAA2-495F-9E59-A63E086CC251}" presName="tx1" presStyleLbl="revTx" presStyleIdx="1" presStyleCnt="5"/>
      <dgm:spPr/>
    </dgm:pt>
    <dgm:pt modelId="{D3D6EDA4-F20B-4A09-A569-ABD6390AD01A}" type="pres">
      <dgm:prSet presAssocID="{31D7814A-CAA2-495F-9E59-A63E086CC251}" presName="vert1" presStyleCnt="0"/>
      <dgm:spPr/>
    </dgm:pt>
    <dgm:pt modelId="{D92E63C1-4151-46FD-B977-80E7839166AF}" type="pres">
      <dgm:prSet presAssocID="{2D436B2B-7DF7-4A58-BD22-8C39E340FDEB}" presName="thickLine" presStyleLbl="alignNode1" presStyleIdx="2" presStyleCnt="5"/>
      <dgm:spPr/>
    </dgm:pt>
    <dgm:pt modelId="{9349AF60-644F-4EAD-AF87-3C7AFA1AC29F}" type="pres">
      <dgm:prSet presAssocID="{2D436B2B-7DF7-4A58-BD22-8C39E340FDEB}" presName="horz1" presStyleCnt="0"/>
      <dgm:spPr/>
    </dgm:pt>
    <dgm:pt modelId="{B5042D44-F84E-4B81-9112-0BABCD1C614F}" type="pres">
      <dgm:prSet presAssocID="{2D436B2B-7DF7-4A58-BD22-8C39E340FDEB}" presName="tx1" presStyleLbl="revTx" presStyleIdx="2" presStyleCnt="5"/>
      <dgm:spPr/>
    </dgm:pt>
    <dgm:pt modelId="{595804A2-61B6-45BE-AA57-52FBB2D8B261}" type="pres">
      <dgm:prSet presAssocID="{2D436B2B-7DF7-4A58-BD22-8C39E340FDEB}" presName="vert1" presStyleCnt="0"/>
      <dgm:spPr/>
    </dgm:pt>
    <dgm:pt modelId="{D1103F0E-2EDB-4032-A33D-CED616241388}" type="pres">
      <dgm:prSet presAssocID="{59DCA4B6-ABA4-4C53-AD1E-288505972A7A}" presName="thickLine" presStyleLbl="alignNode1" presStyleIdx="3" presStyleCnt="5"/>
      <dgm:spPr/>
    </dgm:pt>
    <dgm:pt modelId="{CFF7AD63-49B4-433D-95E8-832A3014929E}" type="pres">
      <dgm:prSet presAssocID="{59DCA4B6-ABA4-4C53-AD1E-288505972A7A}" presName="horz1" presStyleCnt="0"/>
      <dgm:spPr/>
    </dgm:pt>
    <dgm:pt modelId="{73CA5A6D-5BD7-40BC-8ABB-32C6B121482D}" type="pres">
      <dgm:prSet presAssocID="{59DCA4B6-ABA4-4C53-AD1E-288505972A7A}" presName="tx1" presStyleLbl="revTx" presStyleIdx="3" presStyleCnt="5"/>
      <dgm:spPr/>
    </dgm:pt>
    <dgm:pt modelId="{94FAF6D9-6E0A-4E09-9454-ED26B27F6A34}" type="pres">
      <dgm:prSet presAssocID="{59DCA4B6-ABA4-4C53-AD1E-288505972A7A}" presName="vert1" presStyleCnt="0"/>
      <dgm:spPr/>
    </dgm:pt>
    <dgm:pt modelId="{45ACB014-3599-4071-9B41-D5936273C84D}" type="pres">
      <dgm:prSet presAssocID="{8EDAD4B8-6DB2-4DD9-BDE7-5DACAC5C06D7}" presName="thickLine" presStyleLbl="alignNode1" presStyleIdx="4" presStyleCnt="5"/>
      <dgm:spPr/>
    </dgm:pt>
    <dgm:pt modelId="{EED34E53-7A92-44ED-92D7-F4D4278CF8D3}" type="pres">
      <dgm:prSet presAssocID="{8EDAD4B8-6DB2-4DD9-BDE7-5DACAC5C06D7}" presName="horz1" presStyleCnt="0"/>
      <dgm:spPr/>
    </dgm:pt>
    <dgm:pt modelId="{F470C42B-129C-440D-AA9B-1CF0777EF50F}" type="pres">
      <dgm:prSet presAssocID="{8EDAD4B8-6DB2-4DD9-BDE7-5DACAC5C06D7}" presName="tx1" presStyleLbl="revTx" presStyleIdx="4" presStyleCnt="5"/>
      <dgm:spPr/>
    </dgm:pt>
    <dgm:pt modelId="{A351F8A3-992A-4FA3-B856-EA14479DD50E}" type="pres">
      <dgm:prSet presAssocID="{8EDAD4B8-6DB2-4DD9-BDE7-5DACAC5C06D7}" presName="vert1" presStyleCnt="0"/>
      <dgm:spPr/>
    </dgm:pt>
  </dgm:ptLst>
  <dgm:cxnLst>
    <dgm:cxn modelId="{BEAED761-3CD5-47ED-84BC-DB7D101CF2AB}" type="presOf" srcId="{8EDAD4B8-6DB2-4DD9-BDE7-5DACAC5C06D7}" destId="{F470C42B-129C-440D-AA9B-1CF0777EF50F}" srcOrd="0" destOrd="0" presId="urn:microsoft.com/office/officeart/2008/layout/LinedList"/>
    <dgm:cxn modelId="{ABAA5482-5597-4874-BAC5-4C126A379966}" type="presOf" srcId="{2D436B2B-7DF7-4A58-BD22-8C39E340FDEB}" destId="{B5042D44-F84E-4B81-9112-0BABCD1C614F}" srcOrd="0" destOrd="0" presId="urn:microsoft.com/office/officeart/2008/layout/LinedList"/>
    <dgm:cxn modelId="{1C1D988B-73EE-4558-BEC4-8EB6D36732D9}" srcId="{D0B98A4B-F9A7-43FD-A0AD-0A651391A0F7}" destId="{31D7814A-CAA2-495F-9E59-A63E086CC251}" srcOrd="1" destOrd="0" parTransId="{DF581508-1297-4868-8CD6-8C375256D7D4}" sibTransId="{C51B4840-EA4D-491D-9CE7-37FAD2E19605}"/>
    <dgm:cxn modelId="{6E7642A2-D9AF-450B-B483-B0C459916D92}" srcId="{D0B98A4B-F9A7-43FD-A0AD-0A651391A0F7}" destId="{19121065-F382-4288-870D-1EF389468EF3}" srcOrd="0" destOrd="0" parTransId="{42958058-7DC7-4772-8BEF-7B072C3BF8CD}" sibTransId="{6B826299-D79C-410E-A677-094EDF361140}"/>
    <dgm:cxn modelId="{198305AF-FC12-46DD-845B-E8726BD3E458}" type="presOf" srcId="{D0B98A4B-F9A7-43FD-A0AD-0A651391A0F7}" destId="{D75A16A0-4F63-4342-AD7C-0243DA413691}" srcOrd="0" destOrd="0" presId="urn:microsoft.com/office/officeart/2008/layout/LinedList"/>
    <dgm:cxn modelId="{179C4BBB-51E8-416D-B597-E55237373361}" type="presOf" srcId="{31D7814A-CAA2-495F-9E59-A63E086CC251}" destId="{3F90FA95-D4CB-43D1-8B79-8E34CA59E405}" srcOrd="0" destOrd="0" presId="urn:microsoft.com/office/officeart/2008/layout/LinedList"/>
    <dgm:cxn modelId="{B7B5C6BF-AD74-4E48-8B23-344EB48BE530}" srcId="{D0B98A4B-F9A7-43FD-A0AD-0A651391A0F7}" destId="{59DCA4B6-ABA4-4C53-AD1E-288505972A7A}" srcOrd="3" destOrd="0" parTransId="{87082796-8492-4AE3-A217-4F6ADF47599B}" sibTransId="{B50E361F-B10A-482B-AD79-35DC52DF92C3}"/>
    <dgm:cxn modelId="{EC5FC9BF-7044-4D70-863E-2F24D0DF1046}" srcId="{D0B98A4B-F9A7-43FD-A0AD-0A651391A0F7}" destId="{8EDAD4B8-6DB2-4DD9-BDE7-5DACAC5C06D7}" srcOrd="4" destOrd="0" parTransId="{5A27397D-5001-47A5-8354-AE403F6C7C4A}" sibTransId="{0A5D6B06-7759-49E7-A503-DEBD8387E6DF}"/>
    <dgm:cxn modelId="{3D4401D9-380A-4CEB-93CC-A3B09DBA9BC1}" type="presOf" srcId="{19121065-F382-4288-870D-1EF389468EF3}" destId="{14B369EA-A0D4-4E06-9BA1-5C20C38038C7}" srcOrd="0" destOrd="0" presId="urn:microsoft.com/office/officeart/2008/layout/LinedList"/>
    <dgm:cxn modelId="{46B9F9E7-7CCC-40EA-AD51-136EC89DA75C}" type="presOf" srcId="{59DCA4B6-ABA4-4C53-AD1E-288505972A7A}" destId="{73CA5A6D-5BD7-40BC-8ABB-32C6B121482D}" srcOrd="0" destOrd="0" presId="urn:microsoft.com/office/officeart/2008/layout/LinedList"/>
    <dgm:cxn modelId="{24799AEF-AB65-4F77-8F07-1B7ECD81BD7A}" srcId="{D0B98A4B-F9A7-43FD-A0AD-0A651391A0F7}" destId="{2D436B2B-7DF7-4A58-BD22-8C39E340FDEB}" srcOrd="2" destOrd="0" parTransId="{F2F32F39-54A4-44DD-A199-15B806E26583}" sibTransId="{B3B691CF-53FB-4198-A511-544097F62768}"/>
    <dgm:cxn modelId="{09731801-9686-49A4-BC5A-F3439E0FD1AB}" type="presParOf" srcId="{D75A16A0-4F63-4342-AD7C-0243DA413691}" destId="{72C1E982-FD11-4454-AAC9-FD788DB22D5D}" srcOrd="0" destOrd="0" presId="urn:microsoft.com/office/officeart/2008/layout/LinedList"/>
    <dgm:cxn modelId="{4A916DEF-9B12-4D58-BA72-9473C65C94ED}" type="presParOf" srcId="{D75A16A0-4F63-4342-AD7C-0243DA413691}" destId="{5B81B886-614A-4984-88F4-6111F942D39C}" srcOrd="1" destOrd="0" presId="urn:microsoft.com/office/officeart/2008/layout/LinedList"/>
    <dgm:cxn modelId="{612BA278-5A20-47BF-8A22-F03F1F0D3E42}" type="presParOf" srcId="{5B81B886-614A-4984-88F4-6111F942D39C}" destId="{14B369EA-A0D4-4E06-9BA1-5C20C38038C7}" srcOrd="0" destOrd="0" presId="urn:microsoft.com/office/officeart/2008/layout/LinedList"/>
    <dgm:cxn modelId="{C8B5DCBD-D700-434F-BF7B-88BC2DB45B19}" type="presParOf" srcId="{5B81B886-614A-4984-88F4-6111F942D39C}" destId="{1D9C3245-E490-417B-81EA-ADFB97F8BA62}" srcOrd="1" destOrd="0" presId="urn:microsoft.com/office/officeart/2008/layout/LinedList"/>
    <dgm:cxn modelId="{46B7D730-5BF3-43D1-B9EE-017C492BF7E3}" type="presParOf" srcId="{D75A16A0-4F63-4342-AD7C-0243DA413691}" destId="{FD984520-9FB2-4383-87E6-7245BC7037E2}" srcOrd="2" destOrd="0" presId="urn:microsoft.com/office/officeart/2008/layout/LinedList"/>
    <dgm:cxn modelId="{BA6B55C2-4697-4FF3-89AA-AA192CA4B011}" type="presParOf" srcId="{D75A16A0-4F63-4342-AD7C-0243DA413691}" destId="{29738AD1-AF5A-49BF-9E7D-5EDEE1F44FCE}" srcOrd="3" destOrd="0" presId="urn:microsoft.com/office/officeart/2008/layout/LinedList"/>
    <dgm:cxn modelId="{7CE72F1A-9E3F-451D-940A-2C015E12F91C}" type="presParOf" srcId="{29738AD1-AF5A-49BF-9E7D-5EDEE1F44FCE}" destId="{3F90FA95-D4CB-43D1-8B79-8E34CA59E405}" srcOrd="0" destOrd="0" presId="urn:microsoft.com/office/officeart/2008/layout/LinedList"/>
    <dgm:cxn modelId="{E7A2B9BC-0F4D-48E2-A8D3-D8FFD2166E5A}" type="presParOf" srcId="{29738AD1-AF5A-49BF-9E7D-5EDEE1F44FCE}" destId="{D3D6EDA4-F20B-4A09-A569-ABD6390AD01A}" srcOrd="1" destOrd="0" presId="urn:microsoft.com/office/officeart/2008/layout/LinedList"/>
    <dgm:cxn modelId="{05A2756B-032F-4AC8-9D88-A26E83CD33DB}" type="presParOf" srcId="{D75A16A0-4F63-4342-AD7C-0243DA413691}" destId="{D92E63C1-4151-46FD-B977-80E7839166AF}" srcOrd="4" destOrd="0" presId="urn:microsoft.com/office/officeart/2008/layout/LinedList"/>
    <dgm:cxn modelId="{5FB13977-E932-46FF-A604-F0CC5DD86817}" type="presParOf" srcId="{D75A16A0-4F63-4342-AD7C-0243DA413691}" destId="{9349AF60-644F-4EAD-AF87-3C7AFA1AC29F}" srcOrd="5" destOrd="0" presId="urn:microsoft.com/office/officeart/2008/layout/LinedList"/>
    <dgm:cxn modelId="{91DFB2B6-745A-42EB-B0A0-16BAA855B829}" type="presParOf" srcId="{9349AF60-644F-4EAD-AF87-3C7AFA1AC29F}" destId="{B5042D44-F84E-4B81-9112-0BABCD1C614F}" srcOrd="0" destOrd="0" presId="urn:microsoft.com/office/officeart/2008/layout/LinedList"/>
    <dgm:cxn modelId="{7B21C1D8-CBA4-4301-86A0-811FA696734E}" type="presParOf" srcId="{9349AF60-644F-4EAD-AF87-3C7AFA1AC29F}" destId="{595804A2-61B6-45BE-AA57-52FBB2D8B261}" srcOrd="1" destOrd="0" presId="urn:microsoft.com/office/officeart/2008/layout/LinedList"/>
    <dgm:cxn modelId="{37B67497-6BF2-418A-8B81-F153257A7B42}" type="presParOf" srcId="{D75A16A0-4F63-4342-AD7C-0243DA413691}" destId="{D1103F0E-2EDB-4032-A33D-CED616241388}" srcOrd="6" destOrd="0" presId="urn:microsoft.com/office/officeart/2008/layout/LinedList"/>
    <dgm:cxn modelId="{ACB344CA-6181-43E9-A3B1-92A467AC643B}" type="presParOf" srcId="{D75A16A0-4F63-4342-AD7C-0243DA413691}" destId="{CFF7AD63-49B4-433D-95E8-832A3014929E}" srcOrd="7" destOrd="0" presId="urn:microsoft.com/office/officeart/2008/layout/LinedList"/>
    <dgm:cxn modelId="{A937EBE4-D909-4DBC-86B3-5C30B08837C3}" type="presParOf" srcId="{CFF7AD63-49B4-433D-95E8-832A3014929E}" destId="{73CA5A6D-5BD7-40BC-8ABB-32C6B121482D}" srcOrd="0" destOrd="0" presId="urn:microsoft.com/office/officeart/2008/layout/LinedList"/>
    <dgm:cxn modelId="{0623E7FB-C271-436A-919B-4AAFC33D5FEE}" type="presParOf" srcId="{CFF7AD63-49B4-433D-95E8-832A3014929E}" destId="{94FAF6D9-6E0A-4E09-9454-ED26B27F6A34}" srcOrd="1" destOrd="0" presId="urn:microsoft.com/office/officeart/2008/layout/LinedList"/>
    <dgm:cxn modelId="{66A27407-6BA5-4256-B2F0-B65C681EC3F0}" type="presParOf" srcId="{D75A16A0-4F63-4342-AD7C-0243DA413691}" destId="{45ACB014-3599-4071-9B41-D5936273C84D}" srcOrd="8" destOrd="0" presId="urn:microsoft.com/office/officeart/2008/layout/LinedList"/>
    <dgm:cxn modelId="{EBC39FA8-FBB9-47B2-BC10-81697B8A98B8}" type="presParOf" srcId="{D75A16A0-4F63-4342-AD7C-0243DA413691}" destId="{EED34E53-7A92-44ED-92D7-F4D4278CF8D3}" srcOrd="9" destOrd="0" presId="urn:microsoft.com/office/officeart/2008/layout/LinedList"/>
    <dgm:cxn modelId="{F02211A2-0086-44EA-924F-705553A8946F}" type="presParOf" srcId="{EED34E53-7A92-44ED-92D7-F4D4278CF8D3}" destId="{F470C42B-129C-440D-AA9B-1CF0777EF50F}" srcOrd="0" destOrd="0" presId="urn:microsoft.com/office/officeart/2008/layout/LinedList"/>
    <dgm:cxn modelId="{43EF93B6-AF8E-4EEA-B942-5A5DA780EDCD}" type="presParOf" srcId="{EED34E53-7A92-44ED-92D7-F4D4278CF8D3}" destId="{A351F8A3-992A-4FA3-B856-EA14479DD50E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0B98A4B-F9A7-43FD-A0AD-0A651391A0F7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9121065-F382-4288-870D-1EF389468EF3}">
      <dgm:prSet custT="1"/>
      <dgm:spPr/>
      <dgm:t>
        <a:bodyPr/>
        <a:lstStyle/>
        <a:p>
          <a:pPr algn="ctr"/>
          <a:r>
            <a:rPr lang="cs-CZ" sz="2400" b="1" dirty="0"/>
            <a:t>NIS 2 v ČR</a:t>
          </a:r>
          <a:endParaRPr lang="en-US" sz="2400" dirty="0"/>
        </a:p>
      </dgm:t>
    </dgm:pt>
    <dgm:pt modelId="{42958058-7DC7-4772-8BEF-7B072C3BF8CD}" type="parTrans" cxnId="{6E7642A2-D9AF-450B-B483-B0C459916D92}">
      <dgm:prSet/>
      <dgm:spPr/>
      <dgm:t>
        <a:bodyPr/>
        <a:lstStyle/>
        <a:p>
          <a:endParaRPr lang="en-US"/>
        </a:p>
      </dgm:t>
    </dgm:pt>
    <dgm:pt modelId="{6B826299-D79C-410E-A677-094EDF361140}" type="sibTrans" cxnId="{6E7642A2-D9AF-450B-B483-B0C459916D92}">
      <dgm:prSet/>
      <dgm:spPr/>
      <dgm:t>
        <a:bodyPr/>
        <a:lstStyle/>
        <a:p>
          <a:endParaRPr lang="en-US"/>
        </a:p>
      </dgm:t>
    </dgm:pt>
    <dgm:pt modelId="{31D7814A-CAA2-495F-9E59-A63E086CC251}">
      <dgm:prSet/>
      <dgm:spPr/>
      <dgm:t>
        <a:bodyPr/>
        <a:lstStyle/>
        <a:p>
          <a:r>
            <a:rPr lang="cs-CZ" b="0" i="0" dirty="0"/>
            <a:t>Na splnění klíčových povinností bude lhůta jednoho roku = podniky budou mít čas do října 2025 na implementaci potřebných opatření</a:t>
          </a:r>
          <a:endParaRPr lang="en-US" dirty="0"/>
        </a:p>
      </dgm:t>
    </dgm:pt>
    <dgm:pt modelId="{DF581508-1297-4868-8CD6-8C375256D7D4}" type="parTrans" cxnId="{1C1D988B-73EE-4558-BEC4-8EB6D36732D9}">
      <dgm:prSet/>
      <dgm:spPr/>
      <dgm:t>
        <a:bodyPr/>
        <a:lstStyle/>
        <a:p>
          <a:endParaRPr lang="en-US"/>
        </a:p>
      </dgm:t>
    </dgm:pt>
    <dgm:pt modelId="{C51B4840-EA4D-491D-9CE7-37FAD2E19605}" type="sibTrans" cxnId="{1C1D988B-73EE-4558-BEC4-8EB6D36732D9}">
      <dgm:prSet/>
      <dgm:spPr/>
      <dgm:t>
        <a:bodyPr/>
        <a:lstStyle/>
        <a:p>
          <a:endParaRPr lang="en-US"/>
        </a:p>
      </dgm:t>
    </dgm:pt>
    <dgm:pt modelId="{2D436B2B-7DF7-4A58-BD22-8C39E340FDEB}">
      <dgm:prSet/>
      <dgm:spPr/>
      <dgm:t>
        <a:bodyPr/>
        <a:lstStyle/>
        <a:p>
          <a:r>
            <a:rPr lang="cs-CZ" b="0" i="0" dirty="0"/>
            <a:t>Doporučuji začít s analýzou možných dopadů NIS2 už teď = </a:t>
          </a:r>
          <a:r>
            <a:rPr lang="cs-CZ" b="1" i="0" dirty="0"/>
            <a:t>vytvořit harmonogram implementace + sehnat potřebné kapacity</a:t>
          </a:r>
          <a:endParaRPr lang="en-US" b="1" dirty="0"/>
        </a:p>
      </dgm:t>
    </dgm:pt>
    <dgm:pt modelId="{F2F32F39-54A4-44DD-A199-15B806E26583}" type="parTrans" cxnId="{24799AEF-AB65-4F77-8F07-1B7ECD81BD7A}">
      <dgm:prSet/>
      <dgm:spPr/>
      <dgm:t>
        <a:bodyPr/>
        <a:lstStyle/>
        <a:p>
          <a:endParaRPr lang="en-US"/>
        </a:p>
      </dgm:t>
    </dgm:pt>
    <dgm:pt modelId="{B3B691CF-53FB-4198-A511-544097F62768}" type="sibTrans" cxnId="{24799AEF-AB65-4F77-8F07-1B7ECD81BD7A}">
      <dgm:prSet/>
      <dgm:spPr/>
      <dgm:t>
        <a:bodyPr/>
        <a:lstStyle/>
        <a:p>
          <a:endParaRPr lang="en-US"/>
        </a:p>
      </dgm:t>
    </dgm:pt>
    <dgm:pt modelId="{8EDAD4B8-6DB2-4DD9-BDE7-5DACAC5C06D7}">
      <dgm:prSet/>
      <dgm:spPr/>
      <dgm:t>
        <a:bodyPr/>
        <a:lstStyle/>
        <a:p>
          <a:endParaRPr lang="en-US" dirty="0"/>
        </a:p>
      </dgm:t>
    </dgm:pt>
    <dgm:pt modelId="{5A27397D-5001-47A5-8354-AE403F6C7C4A}" type="parTrans" cxnId="{EC5FC9BF-7044-4D70-863E-2F24D0DF1046}">
      <dgm:prSet/>
      <dgm:spPr/>
      <dgm:t>
        <a:bodyPr/>
        <a:lstStyle/>
        <a:p>
          <a:endParaRPr lang="en-US"/>
        </a:p>
      </dgm:t>
    </dgm:pt>
    <dgm:pt modelId="{0A5D6B06-7759-49E7-A503-DEBD8387E6DF}" type="sibTrans" cxnId="{EC5FC9BF-7044-4D70-863E-2F24D0DF1046}">
      <dgm:prSet/>
      <dgm:spPr/>
      <dgm:t>
        <a:bodyPr/>
        <a:lstStyle/>
        <a:p>
          <a:endParaRPr lang="en-US"/>
        </a:p>
      </dgm:t>
    </dgm:pt>
    <dgm:pt modelId="{D75A16A0-4F63-4342-AD7C-0243DA413691}" type="pres">
      <dgm:prSet presAssocID="{D0B98A4B-F9A7-43FD-A0AD-0A651391A0F7}" presName="vert0" presStyleCnt="0">
        <dgm:presLayoutVars>
          <dgm:dir/>
          <dgm:animOne val="branch"/>
          <dgm:animLvl val="lvl"/>
        </dgm:presLayoutVars>
      </dgm:prSet>
      <dgm:spPr/>
    </dgm:pt>
    <dgm:pt modelId="{72C1E982-FD11-4454-AAC9-FD788DB22D5D}" type="pres">
      <dgm:prSet presAssocID="{19121065-F382-4288-870D-1EF389468EF3}" presName="thickLine" presStyleLbl="alignNode1" presStyleIdx="0" presStyleCnt="4"/>
      <dgm:spPr/>
    </dgm:pt>
    <dgm:pt modelId="{5B81B886-614A-4984-88F4-6111F942D39C}" type="pres">
      <dgm:prSet presAssocID="{19121065-F382-4288-870D-1EF389468EF3}" presName="horz1" presStyleCnt="0"/>
      <dgm:spPr/>
    </dgm:pt>
    <dgm:pt modelId="{14B369EA-A0D4-4E06-9BA1-5C20C38038C7}" type="pres">
      <dgm:prSet presAssocID="{19121065-F382-4288-870D-1EF389468EF3}" presName="tx1" presStyleLbl="revTx" presStyleIdx="0" presStyleCnt="4"/>
      <dgm:spPr/>
    </dgm:pt>
    <dgm:pt modelId="{1D9C3245-E490-417B-81EA-ADFB97F8BA62}" type="pres">
      <dgm:prSet presAssocID="{19121065-F382-4288-870D-1EF389468EF3}" presName="vert1" presStyleCnt="0"/>
      <dgm:spPr/>
    </dgm:pt>
    <dgm:pt modelId="{FD984520-9FB2-4383-87E6-7245BC7037E2}" type="pres">
      <dgm:prSet presAssocID="{31D7814A-CAA2-495F-9E59-A63E086CC251}" presName="thickLine" presStyleLbl="alignNode1" presStyleIdx="1" presStyleCnt="4"/>
      <dgm:spPr/>
    </dgm:pt>
    <dgm:pt modelId="{29738AD1-AF5A-49BF-9E7D-5EDEE1F44FCE}" type="pres">
      <dgm:prSet presAssocID="{31D7814A-CAA2-495F-9E59-A63E086CC251}" presName="horz1" presStyleCnt="0"/>
      <dgm:spPr/>
    </dgm:pt>
    <dgm:pt modelId="{3F90FA95-D4CB-43D1-8B79-8E34CA59E405}" type="pres">
      <dgm:prSet presAssocID="{31D7814A-CAA2-495F-9E59-A63E086CC251}" presName="tx1" presStyleLbl="revTx" presStyleIdx="1" presStyleCnt="4"/>
      <dgm:spPr/>
    </dgm:pt>
    <dgm:pt modelId="{D3D6EDA4-F20B-4A09-A569-ABD6390AD01A}" type="pres">
      <dgm:prSet presAssocID="{31D7814A-CAA2-495F-9E59-A63E086CC251}" presName="vert1" presStyleCnt="0"/>
      <dgm:spPr/>
    </dgm:pt>
    <dgm:pt modelId="{D92E63C1-4151-46FD-B977-80E7839166AF}" type="pres">
      <dgm:prSet presAssocID="{2D436B2B-7DF7-4A58-BD22-8C39E340FDEB}" presName="thickLine" presStyleLbl="alignNode1" presStyleIdx="2" presStyleCnt="4"/>
      <dgm:spPr/>
    </dgm:pt>
    <dgm:pt modelId="{9349AF60-644F-4EAD-AF87-3C7AFA1AC29F}" type="pres">
      <dgm:prSet presAssocID="{2D436B2B-7DF7-4A58-BD22-8C39E340FDEB}" presName="horz1" presStyleCnt="0"/>
      <dgm:spPr/>
    </dgm:pt>
    <dgm:pt modelId="{B5042D44-F84E-4B81-9112-0BABCD1C614F}" type="pres">
      <dgm:prSet presAssocID="{2D436B2B-7DF7-4A58-BD22-8C39E340FDEB}" presName="tx1" presStyleLbl="revTx" presStyleIdx="2" presStyleCnt="4"/>
      <dgm:spPr/>
    </dgm:pt>
    <dgm:pt modelId="{595804A2-61B6-45BE-AA57-52FBB2D8B261}" type="pres">
      <dgm:prSet presAssocID="{2D436B2B-7DF7-4A58-BD22-8C39E340FDEB}" presName="vert1" presStyleCnt="0"/>
      <dgm:spPr/>
    </dgm:pt>
    <dgm:pt modelId="{45ACB014-3599-4071-9B41-D5936273C84D}" type="pres">
      <dgm:prSet presAssocID="{8EDAD4B8-6DB2-4DD9-BDE7-5DACAC5C06D7}" presName="thickLine" presStyleLbl="alignNode1" presStyleIdx="3" presStyleCnt="4"/>
      <dgm:spPr/>
    </dgm:pt>
    <dgm:pt modelId="{EED34E53-7A92-44ED-92D7-F4D4278CF8D3}" type="pres">
      <dgm:prSet presAssocID="{8EDAD4B8-6DB2-4DD9-BDE7-5DACAC5C06D7}" presName="horz1" presStyleCnt="0"/>
      <dgm:spPr/>
    </dgm:pt>
    <dgm:pt modelId="{F470C42B-129C-440D-AA9B-1CF0777EF50F}" type="pres">
      <dgm:prSet presAssocID="{8EDAD4B8-6DB2-4DD9-BDE7-5DACAC5C06D7}" presName="tx1" presStyleLbl="revTx" presStyleIdx="3" presStyleCnt="4"/>
      <dgm:spPr/>
    </dgm:pt>
    <dgm:pt modelId="{A351F8A3-992A-4FA3-B856-EA14479DD50E}" type="pres">
      <dgm:prSet presAssocID="{8EDAD4B8-6DB2-4DD9-BDE7-5DACAC5C06D7}" presName="vert1" presStyleCnt="0"/>
      <dgm:spPr/>
    </dgm:pt>
  </dgm:ptLst>
  <dgm:cxnLst>
    <dgm:cxn modelId="{BEAED761-3CD5-47ED-84BC-DB7D101CF2AB}" type="presOf" srcId="{8EDAD4B8-6DB2-4DD9-BDE7-5DACAC5C06D7}" destId="{F470C42B-129C-440D-AA9B-1CF0777EF50F}" srcOrd="0" destOrd="0" presId="urn:microsoft.com/office/officeart/2008/layout/LinedList"/>
    <dgm:cxn modelId="{ABAA5482-5597-4874-BAC5-4C126A379966}" type="presOf" srcId="{2D436B2B-7DF7-4A58-BD22-8C39E340FDEB}" destId="{B5042D44-F84E-4B81-9112-0BABCD1C614F}" srcOrd="0" destOrd="0" presId="urn:microsoft.com/office/officeart/2008/layout/LinedList"/>
    <dgm:cxn modelId="{1C1D988B-73EE-4558-BEC4-8EB6D36732D9}" srcId="{D0B98A4B-F9A7-43FD-A0AD-0A651391A0F7}" destId="{31D7814A-CAA2-495F-9E59-A63E086CC251}" srcOrd="1" destOrd="0" parTransId="{DF581508-1297-4868-8CD6-8C375256D7D4}" sibTransId="{C51B4840-EA4D-491D-9CE7-37FAD2E19605}"/>
    <dgm:cxn modelId="{6E7642A2-D9AF-450B-B483-B0C459916D92}" srcId="{D0B98A4B-F9A7-43FD-A0AD-0A651391A0F7}" destId="{19121065-F382-4288-870D-1EF389468EF3}" srcOrd="0" destOrd="0" parTransId="{42958058-7DC7-4772-8BEF-7B072C3BF8CD}" sibTransId="{6B826299-D79C-410E-A677-094EDF361140}"/>
    <dgm:cxn modelId="{198305AF-FC12-46DD-845B-E8726BD3E458}" type="presOf" srcId="{D0B98A4B-F9A7-43FD-A0AD-0A651391A0F7}" destId="{D75A16A0-4F63-4342-AD7C-0243DA413691}" srcOrd="0" destOrd="0" presId="urn:microsoft.com/office/officeart/2008/layout/LinedList"/>
    <dgm:cxn modelId="{179C4BBB-51E8-416D-B597-E55237373361}" type="presOf" srcId="{31D7814A-CAA2-495F-9E59-A63E086CC251}" destId="{3F90FA95-D4CB-43D1-8B79-8E34CA59E405}" srcOrd="0" destOrd="0" presId="urn:microsoft.com/office/officeart/2008/layout/LinedList"/>
    <dgm:cxn modelId="{EC5FC9BF-7044-4D70-863E-2F24D0DF1046}" srcId="{D0B98A4B-F9A7-43FD-A0AD-0A651391A0F7}" destId="{8EDAD4B8-6DB2-4DD9-BDE7-5DACAC5C06D7}" srcOrd="3" destOrd="0" parTransId="{5A27397D-5001-47A5-8354-AE403F6C7C4A}" sibTransId="{0A5D6B06-7759-49E7-A503-DEBD8387E6DF}"/>
    <dgm:cxn modelId="{3D4401D9-380A-4CEB-93CC-A3B09DBA9BC1}" type="presOf" srcId="{19121065-F382-4288-870D-1EF389468EF3}" destId="{14B369EA-A0D4-4E06-9BA1-5C20C38038C7}" srcOrd="0" destOrd="0" presId="urn:microsoft.com/office/officeart/2008/layout/LinedList"/>
    <dgm:cxn modelId="{24799AEF-AB65-4F77-8F07-1B7ECD81BD7A}" srcId="{D0B98A4B-F9A7-43FD-A0AD-0A651391A0F7}" destId="{2D436B2B-7DF7-4A58-BD22-8C39E340FDEB}" srcOrd="2" destOrd="0" parTransId="{F2F32F39-54A4-44DD-A199-15B806E26583}" sibTransId="{B3B691CF-53FB-4198-A511-544097F62768}"/>
    <dgm:cxn modelId="{09731801-9686-49A4-BC5A-F3439E0FD1AB}" type="presParOf" srcId="{D75A16A0-4F63-4342-AD7C-0243DA413691}" destId="{72C1E982-FD11-4454-AAC9-FD788DB22D5D}" srcOrd="0" destOrd="0" presId="urn:microsoft.com/office/officeart/2008/layout/LinedList"/>
    <dgm:cxn modelId="{4A916DEF-9B12-4D58-BA72-9473C65C94ED}" type="presParOf" srcId="{D75A16A0-4F63-4342-AD7C-0243DA413691}" destId="{5B81B886-614A-4984-88F4-6111F942D39C}" srcOrd="1" destOrd="0" presId="urn:microsoft.com/office/officeart/2008/layout/LinedList"/>
    <dgm:cxn modelId="{612BA278-5A20-47BF-8A22-F03F1F0D3E42}" type="presParOf" srcId="{5B81B886-614A-4984-88F4-6111F942D39C}" destId="{14B369EA-A0D4-4E06-9BA1-5C20C38038C7}" srcOrd="0" destOrd="0" presId="urn:microsoft.com/office/officeart/2008/layout/LinedList"/>
    <dgm:cxn modelId="{C8B5DCBD-D700-434F-BF7B-88BC2DB45B19}" type="presParOf" srcId="{5B81B886-614A-4984-88F4-6111F942D39C}" destId="{1D9C3245-E490-417B-81EA-ADFB97F8BA62}" srcOrd="1" destOrd="0" presId="urn:microsoft.com/office/officeart/2008/layout/LinedList"/>
    <dgm:cxn modelId="{46B7D730-5BF3-43D1-B9EE-017C492BF7E3}" type="presParOf" srcId="{D75A16A0-4F63-4342-AD7C-0243DA413691}" destId="{FD984520-9FB2-4383-87E6-7245BC7037E2}" srcOrd="2" destOrd="0" presId="urn:microsoft.com/office/officeart/2008/layout/LinedList"/>
    <dgm:cxn modelId="{BA6B55C2-4697-4FF3-89AA-AA192CA4B011}" type="presParOf" srcId="{D75A16A0-4F63-4342-AD7C-0243DA413691}" destId="{29738AD1-AF5A-49BF-9E7D-5EDEE1F44FCE}" srcOrd="3" destOrd="0" presId="urn:microsoft.com/office/officeart/2008/layout/LinedList"/>
    <dgm:cxn modelId="{7CE72F1A-9E3F-451D-940A-2C015E12F91C}" type="presParOf" srcId="{29738AD1-AF5A-49BF-9E7D-5EDEE1F44FCE}" destId="{3F90FA95-D4CB-43D1-8B79-8E34CA59E405}" srcOrd="0" destOrd="0" presId="urn:microsoft.com/office/officeart/2008/layout/LinedList"/>
    <dgm:cxn modelId="{E7A2B9BC-0F4D-48E2-A8D3-D8FFD2166E5A}" type="presParOf" srcId="{29738AD1-AF5A-49BF-9E7D-5EDEE1F44FCE}" destId="{D3D6EDA4-F20B-4A09-A569-ABD6390AD01A}" srcOrd="1" destOrd="0" presId="urn:microsoft.com/office/officeart/2008/layout/LinedList"/>
    <dgm:cxn modelId="{05A2756B-032F-4AC8-9D88-A26E83CD33DB}" type="presParOf" srcId="{D75A16A0-4F63-4342-AD7C-0243DA413691}" destId="{D92E63C1-4151-46FD-B977-80E7839166AF}" srcOrd="4" destOrd="0" presId="urn:microsoft.com/office/officeart/2008/layout/LinedList"/>
    <dgm:cxn modelId="{5FB13977-E932-46FF-A604-F0CC5DD86817}" type="presParOf" srcId="{D75A16A0-4F63-4342-AD7C-0243DA413691}" destId="{9349AF60-644F-4EAD-AF87-3C7AFA1AC29F}" srcOrd="5" destOrd="0" presId="urn:microsoft.com/office/officeart/2008/layout/LinedList"/>
    <dgm:cxn modelId="{91DFB2B6-745A-42EB-B0A0-16BAA855B829}" type="presParOf" srcId="{9349AF60-644F-4EAD-AF87-3C7AFA1AC29F}" destId="{B5042D44-F84E-4B81-9112-0BABCD1C614F}" srcOrd="0" destOrd="0" presId="urn:microsoft.com/office/officeart/2008/layout/LinedList"/>
    <dgm:cxn modelId="{7B21C1D8-CBA4-4301-86A0-811FA696734E}" type="presParOf" srcId="{9349AF60-644F-4EAD-AF87-3C7AFA1AC29F}" destId="{595804A2-61B6-45BE-AA57-52FBB2D8B261}" srcOrd="1" destOrd="0" presId="urn:microsoft.com/office/officeart/2008/layout/LinedList"/>
    <dgm:cxn modelId="{66A27407-6BA5-4256-B2F0-B65C681EC3F0}" type="presParOf" srcId="{D75A16A0-4F63-4342-AD7C-0243DA413691}" destId="{45ACB014-3599-4071-9B41-D5936273C84D}" srcOrd="6" destOrd="0" presId="urn:microsoft.com/office/officeart/2008/layout/LinedList"/>
    <dgm:cxn modelId="{EBC39FA8-FBB9-47B2-BC10-81697B8A98B8}" type="presParOf" srcId="{D75A16A0-4F63-4342-AD7C-0243DA413691}" destId="{EED34E53-7A92-44ED-92D7-F4D4278CF8D3}" srcOrd="7" destOrd="0" presId="urn:microsoft.com/office/officeart/2008/layout/LinedList"/>
    <dgm:cxn modelId="{F02211A2-0086-44EA-924F-705553A8946F}" type="presParOf" srcId="{EED34E53-7A92-44ED-92D7-F4D4278CF8D3}" destId="{F470C42B-129C-440D-AA9B-1CF0777EF50F}" srcOrd="0" destOrd="0" presId="urn:microsoft.com/office/officeart/2008/layout/LinedList"/>
    <dgm:cxn modelId="{43EF93B6-AF8E-4EEA-B942-5A5DA780EDCD}" type="presParOf" srcId="{EED34E53-7A92-44ED-92D7-F4D4278CF8D3}" destId="{A351F8A3-992A-4FA3-B856-EA14479DD50E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B19A8D-33EE-4481-8EFD-1BF5583F17A4}">
      <dsp:nvSpPr>
        <dsp:cNvPr id="0" name=""/>
        <dsp:cNvSpPr/>
      </dsp:nvSpPr>
      <dsp:spPr>
        <a:xfrm>
          <a:off x="0" y="645"/>
          <a:ext cx="7387824" cy="151001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977D1F4-8DED-4706-8DFC-D9C6B8A39006}">
      <dsp:nvSpPr>
        <dsp:cNvPr id="0" name=""/>
        <dsp:cNvSpPr/>
      </dsp:nvSpPr>
      <dsp:spPr>
        <a:xfrm>
          <a:off x="456780" y="340399"/>
          <a:ext cx="830509" cy="83050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DD0786B-0054-4C54-8C4D-9CF38803EEE3}">
      <dsp:nvSpPr>
        <dsp:cNvPr id="0" name=""/>
        <dsp:cNvSpPr/>
      </dsp:nvSpPr>
      <dsp:spPr>
        <a:xfrm>
          <a:off x="1744069" y="645"/>
          <a:ext cx="5643754" cy="15100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9810" tIns="159810" rIns="159810" bIns="159810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800" kern="1200" dirty="0"/>
            <a:t>Dne 27. prosince 2022 bylo zveřejněno v Úředním věstníku Evropské unie konečné oficiální znění směrnice NIS2 (Network and </a:t>
          </a:r>
          <a:r>
            <a:rPr lang="cs-CZ" sz="1800" kern="1200" dirty="0" err="1"/>
            <a:t>Information</a:t>
          </a:r>
          <a:r>
            <a:rPr lang="cs-CZ" sz="1800" kern="1200" dirty="0"/>
            <a:t> </a:t>
          </a:r>
          <a:r>
            <a:rPr lang="cs-CZ" sz="1800" kern="1200" dirty="0" err="1"/>
            <a:t>Security</a:t>
          </a:r>
          <a:r>
            <a:rPr lang="cs-CZ" sz="1800" kern="1200" dirty="0"/>
            <a:t> 2)</a:t>
          </a:r>
          <a:endParaRPr lang="en-US" sz="1800" kern="1200" dirty="0"/>
        </a:p>
      </dsp:txBody>
      <dsp:txXfrm>
        <a:off x="1744069" y="645"/>
        <a:ext cx="5643754" cy="1510017"/>
      </dsp:txXfrm>
    </dsp:sp>
    <dsp:sp modelId="{26A082F9-EA0F-41B9-BFDE-BE8A76732004}">
      <dsp:nvSpPr>
        <dsp:cNvPr id="0" name=""/>
        <dsp:cNvSpPr/>
      </dsp:nvSpPr>
      <dsp:spPr>
        <a:xfrm>
          <a:off x="0" y="1888166"/>
          <a:ext cx="7387824" cy="151001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C8AE21-99D8-4528-A50C-38240A10878B}">
      <dsp:nvSpPr>
        <dsp:cNvPr id="0" name=""/>
        <dsp:cNvSpPr/>
      </dsp:nvSpPr>
      <dsp:spPr>
        <a:xfrm>
          <a:off x="456780" y="2227920"/>
          <a:ext cx="830509" cy="83050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2B00EF7-85FA-41CB-8048-1D6E77EBC475}">
      <dsp:nvSpPr>
        <dsp:cNvPr id="0" name=""/>
        <dsp:cNvSpPr/>
      </dsp:nvSpPr>
      <dsp:spPr>
        <a:xfrm>
          <a:off x="1744069" y="1888166"/>
          <a:ext cx="5643754" cy="15100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9810" tIns="159810" rIns="159810" bIns="159810" numCol="1" spcCol="1270" anchor="ctr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kern="1200" dirty="0"/>
            <a:t>Směrnice NIS2 přináší mnoho změn v oblasti zajišťování kybernetické bezpečnosti a týká se nejen organizací, které jsou již nyní podle aktuálního zákona o kybernetické, ale i velkého množství organizací, které budou do regulace spadat nově a do dnešního dne žádné povinnosti plnit nemusely. </a:t>
          </a:r>
          <a:endParaRPr lang="en-US" sz="1500" kern="1200" dirty="0"/>
        </a:p>
      </dsp:txBody>
      <dsp:txXfrm>
        <a:off x="1744069" y="1888166"/>
        <a:ext cx="5643754" cy="1510017"/>
      </dsp:txXfrm>
    </dsp:sp>
    <dsp:sp modelId="{28070B5A-A6A8-4B71-8183-4C8041B78008}">
      <dsp:nvSpPr>
        <dsp:cNvPr id="0" name=""/>
        <dsp:cNvSpPr/>
      </dsp:nvSpPr>
      <dsp:spPr>
        <a:xfrm>
          <a:off x="0" y="3775688"/>
          <a:ext cx="7387824" cy="1510017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E484AB0-83E9-46D7-BA6D-EF982636E28C}">
      <dsp:nvSpPr>
        <dsp:cNvPr id="0" name=""/>
        <dsp:cNvSpPr/>
      </dsp:nvSpPr>
      <dsp:spPr>
        <a:xfrm>
          <a:off x="456780" y="4115442"/>
          <a:ext cx="830509" cy="83050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321D4A-6B32-4131-B9EF-BAF56450036D}">
      <dsp:nvSpPr>
        <dsp:cNvPr id="0" name=""/>
        <dsp:cNvSpPr/>
      </dsp:nvSpPr>
      <dsp:spPr>
        <a:xfrm>
          <a:off x="1744069" y="3775688"/>
          <a:ext cx="5643754" cy="15100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9810" tIns="159810" rIns="159810" bIns="159810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800" kern="1200" dirty="0"/>
            <a:t>Směrnice nastavuje regulaci na dva druhy subjektů</a:t>
          </a:r>
          <a:r>
            <a:rPr lang="cs-CZ" sz="1800" b="1" kern="1200" dirty="0"/>
            <a:t>: základní subjekt a důležitý subjekt. </a:t>
          </a:r>
          <a:endParaRPr lang="en-US" sz="1800" kern="1200" dirty="0"/>
        </a:p>
      </dsp:txBody>
      <dsp:txXfrm>
        <a:off x="1744069" y="3775688"/>
        <a:ext cx="5643754" cy="151001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F14FEEA-BBA9-47CD-854C-E8EBB98907CC}">
      <dsp:nvSpPr>
        <dsp:cNvPr id="0" name=""/>
        <dsp:cNvSpPr/>
      </dsp:nvSpPr>
      <dsp:spPr>
        <a:xfrm>
          <a:off x="0" y="2241"/>
          <a:ext cx="517313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C55069-53B3-4B2E-86CA-9A65C999C28A}">
      <dsp:nvSpPr>
        <dsp:cNvPr id="0" name=""/>
        <dsp:cNvSpPr/>
      </dsp:nvSpPr>
      <dsp:spPr>
        <a:xfrm>
          <a:off x="0" y="2241"/>
          <a:ext cx="5173132" cy="15288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500" kern="1200" dirty="0"/>
        </a:p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kern="1200" dirty="0"/>
            <a:t>V potravinářském průmyslu jsou zahrnuty regulované služby související </a:t>
          </a:r>
          <a:r>
            <a:rPr lang="cs-CZ" sz="1500" b="0" kern="1200" dirty="0"/>
            <a:t>s</a:t>
          </a:r>
          <a:r>
            <a:rPr lang="cs-CZ" sz="1500" b="1" kern="1200" dirty="0"/>
            <a:t> 8.1 výrobou potravin, 8.2 zpracováním potravin a 8.3 distribucí potravin. </a:t>
          </a:r>
          <a:endParaRPr lang="en-US" sz="1500" b="1" kern="1200" dirty="0"/>
        </a:p>
      </dsp:txBody>
      <dsp:txXfrm>
        <a:off x="0" y="2241"/>
        <a:ext cx="5173132" cy="1528822"/>
      </dsp:txXfrm>
    </dsp:sp>
    <dsp:sp modelId="{7B4841DF-3DE9-4220-B99F-96FCDA7F80F8}">
      <dsp:nvSpPr>
        <dsp:cNvPr id="0" name=""/>
        <dsp:cNvSpPr/>
      </dsp:nvSpPr>
      <dsp:spPr>
        <a:xfrm>
          <a:off x="0" y="1531064"/>
          <a:ext cx="517313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DECE859-B413-4081-9170-253DDC0ED45D}">
      <dsp:nvSpPr>
        <dsp:cNvPr id="0" name=""/>
        <dsp:cNvSpPr/>
      </dsp:nvSpPr>
      <dsp:spPr>
        <a:xfrm>
          <a:off x="0" y="1531064"/>
          <a:ext cx="5173132" cy="15288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kern="1200"/>
            <a:t>Směrnice NIS2 přináší mnoho změn v oblasti zajišťování kybernetické bezpečnosti nejen organizací, které jsou již nyní podle aktuálního zákona ti povinny své systémy zabezpečovat, ale i velkého množství organizací, které budou do regulace spadat nově a do dnešního dne žádné povinnosti plnit nemusely. </a:t>
          </a:r>
          <a:endParaRPr lang="en-US" sz="1500" kern="1200" dirty="0"/>
        </a:p>
      </dsp:txBody>
      <dsp:txXfrm>
        <a:off x="0" y="1531064"/>
        <a:ext cx="5173132" cy="1528822"/>
      </dsp:txXfrm>
    </dsp:sp>
    <dsp:sp modelId="{07043A94-E65B-4DB5-9FA1-352EA3377800}">
      <dsp:nvSpPr>
        <dsp:cNvPr id="0" name=""/>
        <dsp:cNvSpPr/>
      </dsp:nvSpPr>
      <dsp:spPr>
        <a:xfrm>
          <a:off x="0" y="3059887"/>
          <a:ext cx="5173132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2F2B816-9E3E-4634-888A-C6DD955BB566}">
      <dsp:nvSpPr>
        <dsp:cNvPr id="0" name=""/>
        <dsp:cNvSpPr/>
      </dsp:nvSpPr>
      <dsp:spPr>
        <a:xfrm>
          <a:off x="0" y="3059887"/>
          <a:ext cx="5173132" cy="15288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500" kern="1200" dirty="0"/>
        </a:p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kern="1200" dirty="0"/>
            <a:t>Směrnice nastavuje regulaci na dva druhy subjektů</a:t>
          </a:r>
          <a:r>
            <a:rPr lang="cs-CZ" sz="1500" b="1" kern="1200" dirty="0"/>
            <a:t>: </a:t>
          </a:r>
        </a:p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b="1" kern="1200" dirty="0"/>
            <a:t>základní subjekt a důležitý subjekt.</a:t>
          </a:r>
        </a:p>
        <a:p>
          <a:pPr marL="0" lvl="0" indent="0" algn="l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b="1" kern="1200" dirty="0"/>
            <a:t>Potravinářství = důležité subjekty</a:t>
          </a:r>
          <a:endParaRPr lang="en-US" sz="1500" kern="1200" dirty="0"/>
        </a:p>
      </dsp:txBody>
      <dsp:txXfrm>
        <a:off x="0" y="3059887"/>
        <a:ext cx="5173132" cy="152882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C1E982-FD11-4454-AAC9-FD788DB22D5D}">
      <dsp:nvSpPr>
        <dsp:cNvPr id="0" name=""/>
        <dsp:cNvSpPr/>
      </dsp:nvSpPr>
      <dsp:spPr>
        <a:xfrm>
          <a:off x="0" y="625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4B369EA-A0D4-4E06-9BA1-5C20C38038C7}">
      <dsp:nvSpPr>
        <dsp:cNvPr id="0" name=""/>
        <dsp:cNvSpPr/>
      </dsp:nvSpPr>
      <dsp:spPr>
        <a:xfrm>
          <a:off x="0" y="625"/>
          <a:ext cx="10515600" cy="1024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400" b="1" kern="1200" dirty="0"/>
            <a:t>Harmonogram implementace NIS 2 v ČR dle NUKIB</a:t>
          </a:r>
          <a:endParaRPr lang="en-US" sz="2400" kern="1200" dirty="0"/>
        </a:p>
      </dsp:txBody>
      <dsp:txXfrm>
        <a:off x="0" y="625"/>
        <a:ext cx="10515600" cy="1024793"/>
      </dsp:txXfrm>
    </dsp:sp>
    <dsp:sp modelId="{FD984520-9FB2-4383-87E6-7245BC7037E2}">
      <dsp:nvSpPr>
        <dsp:cNvPr id="0" name=""/>
        <dsp:cNvSpPr/>
      </dsp:nvSpPr>
      <dsp:spPr>
        <a:xfrm>
          <a:off x="0" y="1025419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90FA95-D4CB-43D1-8B79-8E34CA59E405}">
      <dsp:nvSpPr>
        <dsp:cNvPr id="0" name=""/>
        <dsp:cNvSpPr/>
      </dsp:nvSpPr>
      <dsp:spPr>
        <a:xfrm>
          <a:off x="0" y="1025419"/>
          <a:ext cx="10515600" cy="1024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t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500" kern="1200" dirty="0"/>
            <a:t>Mezirezortní připomínkové řízení k návrhu zákona bylo ukončeno dne 19.07.2023</a:t>
          </a:r>
          <a:endParaRPr lang="en-US" sz="2500" kern="1200" dirty="0"/>
        </a:p>
      </dsp:txBody>
      <dsp:txXfrm>
        <a:off x="0" y="1025419"/>
        <a:ext cx="10515600" cy="1024793"/>
      </dsp:txXfrm>
    </dsp:sp>
    <dsp:sp modelId="{D92E63C1-4151-46FD-B977-80E7839166AF}">
      <dsp:nvSpPr>
        <dsp:cNvPr id="0" name=""/>
        <dsp:cNvSpPr/>
      </dsp:nvSpPr>
      <dsp:spPr>
        <a:xfrm>
          <a:off x="0" y="2050213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5042D44-F84E-4B81-9112-0BABCD1C614F}">
      <dsp:nvSpPr>
        <dsp:cNvPr id="0" name=""/>
        <dsp:cNvSpPr/>
      </dsp:nvSpPr>
      <dsp:spPr>
        <a:xfrm>
          <a:off x="0" y="2050213"/>
          <a:ext cx="10515600" cy="1024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t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500" b="0" i="0" kern="1200" dirty="0"/>
            <a:t>Dalším krokem bude odeslání do legislativní rady vlády v průběhu října, což by znamenalo, že by se </a:t>
          </a:r>
          <a:r>
            <a:rPr lang="cs-CZ" sz="2500" b="1" i="0" kern="1200" dirty="0"/>
            <a:t>vláda návrhem zákona zabývala na začátku ledna 2024.</a:t>
          </a:r>
          <a:endParaRPr lang="en-US" sz="2500" b="1" kern="1200" dirty="0"/>
        </a:p>
      </dsp:txBody>
      <dsp:txXfrm>
        <a:off x="0" y="2050213"/>
        <a:ext cx="10515600" cy="1024793"/>
      </dsp:txXfrm>
    </dsp:sp>
    <dsp:sp modelId="{D1103F0E-2EDB-4032-A33D-CED616241388}">
      <dsp:nvSpPr>
        <dsp:cNvPr id="0" name=""/>
        <dsp:cNvSpPr/>
      </dsp:nvSpPr>
      <dsp:spPr>
        <a:xfrm>
          <a:off x="0" y="3075006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3CA5A6D-5BD7-40BC-8ABB-32C6B121482D}">
      <dsp:nvSpPr>
        <dsp:cNvPr id="0" name=""/>
        <dsp:cNvSpPr/>
      </dsp:nvSpPr>
      <dsp:spPr>
        <a:xfrm>
          <a:off x="0" y="3075006"/>
          <a:ext cx="10515600" cy="1024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t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500" b="1" u="sng" kern="1200" dirty="0"/>
            <a:t>Předložení návrhu zákona do Poslanecké sněmovny Parlamentu České republiky předpokládáme v prvním kvartálu roku 2024</a:t>
          </a:r>
          <a:endParaRPr lang="en-US" sz="2500" kern="1200" dirty="0"/>
        </a:p>
      </dsp:txBody>
      <dsp:txXfrm>
        <a:off x="0" y="3075006"/>
        <a:ext cx="10515600" cy="1024793"/>
      </dsp:txXfrm>
    </dsp:sp>
    <dsp:sp modelId="{45ACB014-3599-4071-9B41-D5936273C84D}">
      <dsp:nvSpPr>
        <dsp:cNvPr id="0" name=""/>
        <dsp:cNvSpPr/>
      </dsp:nvSpPr>
      <dsp:spPr>
        <a:xfrm>
          <a:off x="0" y="4099800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70C42B-129C-440D-AA9B-1CF0777EF50F}">
      <dsp:nvSpPr>
        <dsp:cNvPr id="0" name=""/>
        <dsp:cNvSpPr/>
      </dsp:nvSpPr>
      <dsp:spPr>
        <a:xfrm>
          <a:off x="0" y="4099800"/>
          <a:ext cx="10515600" cy="102479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t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500" kern="1200" dirty="0"/>
            <a:t>Transpoziční lhůta stanovena evropskou směrnicí NIS2 v rámci které mají být všechny </a:t>
          </a:r>
          <a:r>
            <a:rPr lang="cs-CZ" sz="2500" b="1" kern="1200" dirty="0"/>
            <a:t>legislativní akty účinné je 17. října 2024.</a:t>
          </a:r>
          <a:endParaRPr lang="en-US" sz="2500" kern="1200" dirty="0"/>
        </a:p>
      </dsp:txBody>
      <dsp:txXfrm>
        <a:off x="0" y="4099800"/>
        <a:ext cx="10515600" cy="102479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C1E982-FD11-4454-AAC9-FD788DB22D5D}">
      <dsp:nvSpPr>
        <dsp:cNvPr id="0" name=""/>
        <dsp:cNvSpPr/>
      </dsp:nvSpPr>
      <dsp:spPr>
        <a:xfrm>
          <a:off x="0" y="0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4B369EA-A0D4-4E06-9BA1-5C20C38038C7}">
      <dsp:nvSpPr>
        <dsp:cNvPr id="0" name=""/>
        <dsp:cNvSpPr/>
      </dsp:nvSpPr>
      <dsp:spPr>
        <a:xfrm>
          <a:off x="0" y="0"/>
          <a:ext cx="10515600" cy="12813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400" b="1" kern="1200" dirty="0"/>
            <a:t>NIS 2 v ČR</a:t>
          </a:r>
          <a:endParaRPr lang="en-US" sz="2400" kern="1200" dirty="0"/>
        </a:p>
      </dsp:txBody>
      <dsp:txXfrm>
        <a:off x="0" y="0"/>
        <a:ext cx="10515600" cy="1281304"/>
      </dsp:txXfrm>
    </dsp:sp>
    <dsp:sp modelId="{FD984520-9FB2-4383-87E6-7245BC7037E2}">
      <dsp:nvSpPr>
        <dsp:cNvPr id="0" name=""/>
        <dsp:cNvSpPr/>
      </dsp:nvSpPr>
      <dsp:spPr>
        <a:xfrm>
          <a:off x="0" y="1281304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F90FA95-D4CB-43D1-8B79-8E34CA59E405}">
      <dsp:nvSpPr>
        <dsp:cNvPr id="0" name=""/>
        <dsp:cNvSpPr/>
      </dsp:nvSpPr>
      <dsp:spPr>
        <a:xfrm>
          <a:off x="0" y="1281304"/>
          <a:ext cx="10515600" cy="12813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900" b="0" i="0" kern="1200" dirty="0"/>
            <a:t>Na splnění klíčových povinností bude lhůta jednoho roku = podniky budou mít čas do října 2025 na implementaci potřebných opatření</a:t>
          </a:r>
          <a:endParaRPr lang="en-US" sz="2900" kern="1200" dirty="0"/>
        </a:p>
      </dsp:txBody>
      <dsp:txXfrm>
        <a:off x="0" y="1281304"/>
        <a:ext cx="10515600" cy="1281304"/>
      </dsp:txXfrm>
    </dsp:sp>
    <dsp:sp modelId="{D92E63C1-4151-46FD-B977-80E7839166AF}">
      <dsp:nvSpPr>
        <dsp:cNvPr id="0" name=""/>
        <dsp:cNvSpPr/>
      </dsp:nvSpPr>
      <dsp:spPr>
        <a:xfrm>
          <a:off x="0" y="2562609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5042D44-F84E-4B81-9112-0BABCD1C614F}">
      <dsp:nvSpPr>
        <dsp:cNvPr id="0" name=""/>
        <dsp:cNvSpPr/>
      </dsp:nvSpPr>
      <dsp:spPr>
        <a:xfrm>
          <a:off x="0" y="2562609"/>
          <a:ext cx="10515600" cy="12813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900" b="0" i="0" kern="1200" dirty="0"/>
            <a:t>Doporučuji začít s analýzou možných dopadů NIS2 už teď = </a:t>
          </a:r>
          <a:r>
            <a:rPr lang="cs-CZ" sz="2900" b="1" i="0" kern="1200" dirty="0"/>
            <a:t>vytvořit harmonogram implementace + sehnat potřebné kapacity</a:t>
          </a:r>
          <a:endParaRPr lang="en-US" sz="2900" b="1" kern="1200" dirty="0"/>
        </a:p>
      </dsp:txBody>
      <dsp:txXfrm>
        <a:off x="0" y="2562609"/>
        <a:ext cx="10515600" cy="1281304"/>
      </dsp:txXfrm>
    </dsp:sp>
    <dsp:sp modelId="{45ACB014-3599-4071-9B41-D5936273C84D}">
      <dsp:nvSpPr>
        <dsp:cNvPr id="0" name=""/>
        <dsp:cNvSpPr/>
      </dsp:nvSpPr>
      <dsp:spPr>
        <a:xfrm>
          <a:off x="0" y="3843915"/>
          <a:ext cx="1051560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70C42B-129C-440D-AA9B-1CF0777EF50F}">
      <dsp:nvSpPr>
        <dsp:cNvPr id="0" name=""/>
        <dsp:cNvSpPr/>
      </dsp:nvSpPr>
      <dsp:spPr>
        <a:xfrm>
          <a:off x="0" y="3843915"/>
          <a:ext cx="10515600" cy="12813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t" anchorCtr="0">
          <a:noAutofit/>
        </a:bodyPr>
        <a:lstStyle/>
        <a:p>
          <a:pPr marL="0" lvl="0" indent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900" kern="1200" dirty="0"/>
        </a:p>
      </dsp:txBody>
      <dsp:txXfrm>
        <a:off x="0" y="3843915"/>
        <a:ext cx="10515600" cy="12813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hlavičku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objekt pre dátum 2"/>
          <p:cNvSpPr>
            <a:spLocks noGrp="1"/>
          </p:cNvSpPr>
          <p:nvPr>
            <p:ph type="dt" idx="1"/>
          </p:nvPr>
        </p:nvSpPr>
        <p:spPr>
          <a:xfrm>
            <a:off x="3884613" y="1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E77A31-D766-41A1-A1CE-697B107BD000}" type="datetimeFigureOut">
              <a:rPr lang="cs-CZ" smtClean="0"/>
              <a:t>10.10.2023</a:t>
            </a:fld>
            <a:endParaRPr lang="cs-CZ"/>
          </a:p>
        </p:txBody>
      </p:sp>
      <p:sp>
        <p:nvSpPr>
          <p:cNvPr id="4" name="Zástupný objekt pre obrázok snímky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objekt pre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49"/>
            <a:ext cx="5486400" cy="360045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cs-CZ"/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6BBA3F-48AA-4CA8-8B9C-27DA310955D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773094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6BBA3F-48AA-4CA8-8B9C-27DA310955DA}" type="slidenum">
              <a:rPr lang="cs-CZ" smtClean="0"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33203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6BBA3F-48AA-4CA8-8B9C-27DA310955DA}" type="slidenum">
              <a:rPr lang="cs-CZ" smtClean="0"/>
              <a:t>1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780779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6BBA3F-48AA-4CA8-8B9C-27DA310955DA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45375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6BBA3F-48AA-4CA8-8B9C-27DA310955DA}" type="slidenum">
              <a:rPr lang="cs-CZ" smtClean="0"/>
              <a:t>1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25899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6BBA3F-48AA-4CA8-8B9C-27DA310955DA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49544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6BBA3F-48AA-4CA8-8B9C-27DA310955DA}" type="slidenum">
              <a:rPr lang="cs-CZ" smtClean="0"/>
              <a:t>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720175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6BBA3F-48AA-4CA8-8B9C-27DA310955DA}" type="slidenum">
              <a:rPr lang="cs-CZ" smtClean="0"/>
              <a:t>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596934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6BBA3F-48AA-4CA8-8B9C-27DA310955DA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90999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6BBA3F-48AA-4CA8-8B9C-27DA310955DA}" type="slidenum">
              <a:rPr lang="cs-CZ" smtClean="0"/>
              <a:t>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79702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6BBA3F-48AA-4CA8-8B9C-27DA310955DA}" type="slidenum">
              <a:rPr lang="cs-CZ" smtClean="0"/>
              <a:t>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01504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6BBA3F-48AA-4CA8-8B9C-27DA310955DA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416662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6BBA3F-48AA-4CA8-8B9C-27DA310955DA}" type="slidenum">
              <a:rPr lang="cs-CZ" smtClean="0"/>
              <a:t>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716061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.emf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oleObject" Target="../embeddings/oleObject2.bin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10" Type="http://schemas.openxmlformats.org/officeDocument/2006/relationships/tags" Target="../tags/tag20.xml"/><Relationship Id="rId19" Type="http://schemas.openxmlformats.org/officeDocument/2006/relationships/image" Target="../media/image1.emf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A337FCE-E016-44B3-9422-D82044CBA6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D9BE8BC-01E3-4AA1-8368-25605B3E7F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E23D54A-996B-42E9-AAB5-3219BC484E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B763E-2071-4F71-A1E7-E8CACC19917E}" type="datetimeFigureOut">
              <a:rPr lang="cs-CZ" smtClean="0"/>
              <a:t>10.10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831D8C4-2CEA-4C8C-BF1C-8CCB282C81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39A7B23-E82E-40F7-BD57-312C20DCD8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92FFA-83C8-48DA-9F9F-39611D54636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214677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FA703E3-B717-4BA6-81EC-D777F21A2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7D5691C4-C896-45B4-8A74-30D1C04A904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365FC98-3B64-4860-85C7-6E382E508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B763E-2071-4F71-A1E7-E8CACC19917E}" type="datetimeFigureOut">
              <a:rPr lang="cs-CZ" smtClean="0"/>
              <a:t>10.10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A790B288-51FE-44C6-91CD-AE5C9DFC7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3CF99DB-CA55-4216-B0D6-C5F941BFB8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92FFA-83C8-48DA-9F9F-39611D54636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1494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E1DF2820-ADF7-4826-8201-5EF01B0F3F6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B2493437-A5DC-41F5-B2BD-CDB06A4C04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DDF3A1E-F06F-45B9-A280-F32652DB47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B763E-2071-4F71-A1E7-E8CACC19917E}" type="datetimeFigureOut">
              <a:rPr lang="cs-CZ" smtClean="0"/>
              <a:t>10.10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A11B068-4565-4E92-A171-ADE4A31CFA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95E17317-C0E4-403A-9673-F37AC13AB4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92FFA-83C8-48DA-9F9F-39611D54636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604027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63AEC8D8-9236-EE4F-BC55-303ACE5C0692}"/>
              </a:ext>
            </a:extLst>
          </p:cNvPr>
          <p:cNvSpPr/>
          <p:nvPr userDrawn="1"/>
        </p:nvSpPr>
        <p:spPr bwMode="gray">
          <a:xfrm>
            <a:off x="5958114" y="0"/>
            <a:ext cx="6233886" cy="6858000"/>
          </a:xfrm>
          <a:prstGeom prst="rect">
            <a:avLst/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cs-CZ" sz="1800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64" y="160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964" y="160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Zástupný symbol pro obsah 14"/>
          <p:cNvSpPr>
            <a:spLocks noGrp="1"/>
          </p:cNvSpPr>
          <p:nvPr>
            <p:ph sz="quarter" idx="20"/>
            <p:custDataLst>
              <p:tags r:id="rId2"/>
            </p:custDataLst>
          </p:nvPr>
        </p:nvSpPr>
        <p:spPr>
          <a:xfrm>
            <a:off x="837783" y="2441024"/>
            <a:ext cx="3150322" cy="2572357"/>
          </a:xfrm>
          <a:noFill/>
        </p:spPr>
        <p:txBody>
          <a:bodyPr/>
          <a:lstStyle>
            <a:lvl1pPr marL="79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tx1"/>
                </a:solidFill>
                <a:latin typeface="Pepi" panose="02000503000000020004" pitchFamily="2" charset="0"/>
                <a:cs typeface="Pepi" panose="02000503000000020004" pitchFamily="2" charset="0"/>
              </a:defRPr>
            </a:lvl1pPr>
            <a:lvl2pPr marL="1857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tx1"/>
                </a:solidFill>
                <a:latin typeface="Pepi" panose="02000503000000020004" pitchFamily="2" charset="0"/>
                <a:cs typeface="Pepi" panose="02000503000000020004" pitchFamily="2" charset="0"/>
              </a:defRPr>
            </a:lvl2pPr>
            <a:lvl3pPr marL="3635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tx1"/>
                </a:solidFill>
                <a:latin typeface="Pepi" panose="02000503000000020004" pitchFamily="2" charset="0"/>
                <a:cs typeface="Pepi" panose="02000503000000020004" pitchFamily="2" charset="0"/>
              </a:defRPr>
            </a:lvl3pPr>
            <a:lvl4pPr marL="541337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tx1"/>
                </a:solidFill>
                <a:latin typeface="Pepi" panose="02000503000000020004" pitchFamily="2" charset="0"/>
                <a:cs typeface="Pepi" panose="02000503000000020004" pitchFamily="2" charset="0"/>
              </a:defRPr>
            </a:lvl4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1" name="Zástupný symbol pro text 7"/>
          <p:cNvSpPr>
            <a:spLocks noGrp="1"/>
          </p:cNvSpPr>
          <p:nvPr>
            <p:ph type="body" sz="quarter" idx="21" hasCustomPrompt="1"/>
            <p:custDataLst>
              <p:tags r:id="rId3"/>
            </p:custDataLst>
          </p:nvPr>
        </p:nvSpPr>
        <p:spPr>
          <a:xfrm>
            <a:off x="837783" y="1863060"/>
            <a:ext cx="3150322" cy="424904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171455" indent="-171455">
              <a:buFont typeface="Arial" pitchFamily="34" charset="0"/>
              <a:buNone/>
              <a:defRPr lang="en-US" sz="2800" b="1" i="0" u="none" cap="all" baseline="0" noProof="0" dirty="0" smtClean="0">
                <a:solidFill>
                  <a:schemeClr val="tx1"/>
                </a:solidFill>
                <a:latin typeface="Pepi" panose="02000503000000020004" pitchFamily="2" charset="0"/>
                <a:ea typeface="Pepi" panose="02000503000000020004" pitchFamily="2" charset="0"/>
                <a:cs typeface="Pepi" panose="02000503000000020004" pitchFamily="2" charset="0"/>
              </a:defRPr>
            </a:lvl1pPr>
          </a:lstStyle>
          <a:p>
            <a:pPr marL="0" lvl="0" indent="0"/>
            <a:r>
              <a:rPr lang="en-GB" noProof="0" dirty="0"/>
              <a:t>1.</a:t>
            </a:r>
          </a:p>
        </p:txBody>
      </p:sp>
      <p:sp>
        <p:nvSpPr>
          <p:cNvPr id="24" name="Zástupný symbol pro obsah 14">
            <a:extLst>
              <a:ext uri="{FF2B5EF4-FFF2-40B4-BE49-F238E27FC236}">
                <a16:creationId xmlns:a16="http://schemas.microsoft.com/office/drawing/2014/main" id="{26C158F2-CC89-834D-ADE5-27AE7CAB1842}"/>
              </a:ext>
            </a:extLst>
          </p:cNvPr>
          <p:cNvSpPr>
            <a:spLocks noGrp="1"/>
          </p:cNvSpPr>
          <p:nvPr>
            <p:ph sz="quarter" idx="22"/>
            <p:custDataLst>
              <p:tags r:id="rId4"/>
            </p:custDataLst>
          </p:nvPr>
        </p:nvSpPr>
        <p:spPr>
          <a:xfrm>
            <a:off x="4520839" y="2441024"/>
            <a:ext cx="3150322" cy="2572357"/>
          </a:xfrm>
          <a:noFill/>
        </p:spPr>
        <p:txBody>
          <a:bodyPr/>
          <a:lstStyle>
            <a:lvl1pPr marL="79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tx1"/>
                </a:solidFill>
                <a:latin typeface="Pepi" panose="02000503000000020004" pitchFamily="2" charset="0"/>
                <a:cs typeface="Pepi" panose="02000503000000020004" pitchFamily="2" charset="0"/>
              </a:defRPr>
            </a:lvl1pPr>
            <a:lvl2pPr marL="1857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tx1"/>
                </a:solidFill>
                <a:latin typeface="Pepi" panose="02000503000000020004" pitchFamily="2" charset="0"/>
                <a:cs typeface="Pepi" panose="02000503000000020004" pitchFamily="2" charset="0"/>
              </a:defRPr>
            </a:lvl2pPr>
            <a:lvl3pPr marL="3635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tx1"/>
                </a:solidFill>
                <a:latin typeface="Pepi" panose="02000503000000020004" pitchFamily="2" charset="0"/>
                <a:cs typeface="Pepi" panose="02000503000000020004" pitchFamily="2" charset="0"/>
              </a:defRPr>
            </a:lvl3pPr>
            <a:lvl4pPr marL="541337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tx1"/>
                </a:solidFill>
                <a:latin typeface="Pepi" panose="02000503000000020004" pitchFamily="2" charset="0"/>
                <a:cs typeface="Pepi" panose="02000503000000020004" pitchFamily="2" charset="0"/>
              </a:defRPr>
            </a:lvl4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5" name="Zástupný symbol pro text 7">
            <a:extLst>
              <a:ext uri="{FF2B5EF4-FFF2-40B4-BE49-F238E27FC236}">
                <a16:creationId xmlns:a16="http://schemas.microsoft.com/office/drawing/2014/main" id="{EB3E75E9-4B16-5344-835E-713753A91719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5"/>
            </p:custDataLst>
          </p:nvPr>
        </p:nvSpPr>
        <p:spPr>
          <a:xfrm>
            <a:off x="4520839" y="1863060"/>
            <a:ext cx="3150322" cy="424904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171455" indent="-171455">
              <a:buFont typeface="Arial" pitchFamily="34" charset="0"/>
              <a:buNone/>
              <a:defRPr lang="en-US" sz="2800" b="1" i="0" u="none" cap="all" baseline="0" noProof="0" dirty="0" smtClean="0">
                <a:solidFill>
                  <a:schemeClr val="tx1"/>
                </a:solidFill>
                <a:latin typeface="Pepi" panose="02000503000000020004" pitchFamily="2" charset="0"/>
                <a:ea typeface="Pepi" panose="02000503000000020004" pitchFamily="2" charset="0"/>
                <a:cs typeface="Pepi" panose="02000503000000020004" pitchFamily="2" charset="0"/>
              </a:defRPr>
            </a:lvl1pPr>
          </a:lstStyle>
          <a:p>
            <a:pPr marL="0" lvl="0" indent="0"/>
            <a:r>
              <a:rPr lang="en-GB" noProof="0" dirty="0"/>
              <a:t>2.</a:t>
            </a:r>
          </a:p>
        </p:txBody>
      </p:sp>
      <p:sp>
        <p:nvSpPr>
          <p:cNvPr id="26" name="Zástupný symbol pro obsah 14">
            <a:extLst>
              <a:ext uri="{FF2B5EF4-FFF2-40B4-BE49-F238E27FC236}">
                <a16:creationId xmlns:a16="http://schemas.microsoft.com/office/drawing/2014/main" id="{C3B45456-3326-1843-8A08-62D2C6CCA421}"/>
              </a:ext>
            </a:extLst>
          </p:cNvPr>
          <p:cNvSpPr>
            <a:spLocks noGrp="1"/>
          </p:cNvSpPr>
          <p:nvPr>
            <p:ph sz="quarter" idx="24"/>
            <p:custDataLst>
              <p:tags r:id="rId6"/>
            </p:custDataLst>
          </p:nvPr>
        </p:nvSpPr>
        <p:spPr>
          <a:xfrm>
            <a:off x="8203895" y="2441024"/>
            <a:ext cx="3150322" cy="2572357"/>
          </a:xfrm>
          <a:noFill/>
        </p:spPr>
        <p:txBody>
          <a:bodyPr/>
          <a:lstStyle>
            <a:lvl1pPr marL="79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tx1"/>
                </a:solidFill>
                <a:latin typeface="Pepi" panose="02000503000000020004" pitchFamily="2" charset="0"/>
                <a:cs typeface="Pepi" panose="02000503000000020004" pitchFamily="2" charset="0"/>
              </a:defRPr>
            </a:lvl1pPr>
            <a:lvl2pPr marL="1857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tx1"/>
                </a:solidFill>
                <a:latin typeface="Pepi" panose="02000503000000020004" pitchFamily="2" charset="0"/>
                <a:cs typeface="Pepi" panose="02000503000000020004" pitchFamily="2" charset="0"/>
              </a:defRPr>
            </a:lvl2pPr>
            <a:lvl3pPr marL="3635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tx1"/>
                </a:solidFill>
                <a:latin typeface="Pepi" panose="02000503000000020004" pitchFamily="2" charset="0"/>
                <a:cs typeface="Pepi" panose="02000503000000020004" pitchFamily="2" charset="0"/>
              </a:defRPr>
            </a:lvl3pPr>
            <a:lvl4pPr marL="541337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tx1"/>
                </a:solidFill>
                <a:latin typeface="Pepi" panose="02000503000000020004" pitchFamily="2" charset="0"/>
                <a:cs typeface="Pepi" panose="02000503000000020004" pitchFamily="2" charset="0"/>
              </a:defRPr>
            </a:lvl4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27" name="Zástupný symbol pro text 7">
            <a:extLst>
              <a:ext uri="{FF2B5EF4-FFF2-40B4-BE49-F238E27FC236}">
                <a16:creationId xmlns:a16="http://schemas.microsoft.com/office/drawing/2014/main" id="{42852F69-F76F-A74E-859A-0680F3D1D9A0}"/>
              </a:ext>
            </a:extLst>
          </p:cNvPr>
          <p:cNvSpPr>
            <a:spLocks noGrp="1"/>
          </p:cNvSpPr>
          <p:nvPr>
            <p:ph type="body" sz="quarter" idx="25" hasCustomPrompt="1"/>
            <p:custDataLst>
              <p:tags r:id="rId7"/>
            </p:custDataLst>
          </p:nvPr>
        </p:nvSpPr>
        <p:spPr>
          <a:xfrm>
            <a:off x="8203895" y="1863060"/>
            <a:ext cx="3150322" cy="424904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171455" indent="-171455">
              <a:buFont typeface="Arial" pitchFamily="34" charset="0"/>
              <a:buNone/>
              <a:defRPr lang="en-US" sz="2800" b="1" i="0" u="none" cap="all" baseline="0" noProof="0" dirty="0" smtClean="0">
                <a:solidFill>
                  <a:schemeClr val="tx1"/>
                </a:solidFill>
                <a:latin typeface="Pepi" panose="02000503000000020004" pitchFamily="2" charset="0"/>
                <a:ea typeface="Pepi" panose="02000503000000020004" pitchFamily="2" charset="0"/>
                <a:cs typeface="Pepi" panose="02000503000000020004" pitchFamily="2" charset="0"/>
              </a:defRPr>
            </a:lvl1pPr>
          </a:lstStyle>
          <a:p>
            <a:pPr marL="0" lvl="0" indent="0"/>
            <a:r>
              <a:rPr lang="en-GB" noProof="0" dirty="0"/>
              <a:t>3.</a:t>
            </a:r>
          </a:p>
        </p:txBody>
      </p:sp>
      <p:sp>
        <p:nvSpPr>
          <p:cNvPr id="14" name="Zástupný symbol pro text 15">
            <a:extLst>
              <a:ext uri="{FF2B5EF4-FFF2-40B4-BE49-F238E27FC236}">
                <a16:creationId xmlns:a16="http://schemas.microsoft.com/office/drawing/2014/main" id="{79EB1B74-E8BC-0749-ABBF-227138660AE2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8"/>
            </p:custDataLst>
          </p:nvPr>
        </p:nvSpPr>
        <p:spPr>
          <a:xfrm>
            <a:off x="695325" y="261310"/>
            <a:ext cx="10801348" cy="216000"/>
          </a:xfrm>
          <a:ln>
            <a:noFill/>
          </a:ln>
        </p:spPr>
        <p:txBody>
          <a:bodyPr anchor="ctr"/>
          <a:lstStyle>
            <a:lvl1pPr marL="0" indent="0">
              <a:buNone/>
              <a:defRPr sz="1400" b="0" i="1" baseline="0">
                <a:solidFill>
                  <a:schemeClr val="tx1"/>
                </a:solidFill>
                <a:latin typeface="Pepi" panose="02000503000000020004" pitchFamily="2" charset="0"/>
                <a:ea typeface="Pepi" panose="02000503000000020004" pitchFamily="2" charset="0"/>
                <a:cs typeface="Pepi" panose="02000503000000020004" pitchFamily="2" charset="0"/>
              </a:defRPr>
            </a:lvl1pPr>
          </a:lstStyle>
          <a:p>
            <a:pPr lvl="0"/>
            <a:r>
              <a:rPr lang="en-GB" noProof="0" dirty="0"/>
              <a:t>Agenda point</a:t>
            </a:r>
          </a:p>
        </p:txBody>
      </p:sp>
      <p:sp>
        <p:nvSpPr>
          <p:cNvPr id="16" name="Zástupný symbol pro text 7">
            <a:extLst>
              <a:ext uri="{FF2B5EF4-FFF2-40B4-BE49-F238E27FC236}">
                <a16:creationId xmlns:a16="http://schemas.microsoft.com/office/drawing/2014/main" id="{3C54564C-FA10-2E42-91EA-FA43D8C2401D}"/>
              </a:ext>
            </a:extLst>
          </p:cNvPr>
          <p:cNvSpPr>
            <a:spLocks noGrp="1"/>
          </p:cNvSpPr>
          <p:nvPr>
            <p:ph type="body" sz="quarter" idx="26" hasCustomPrompt="1"/>
            <p:custDataLst>
              <p:tags r:id="rId9"/>
            </p:custDataLst>
          </p:nvPr>
        </p:nvSpPr>
        <p:spPr>
          <a:xfrm>
            <a:off x="695727" y="479449"/>
            <a:ext cx="10801348" cy="424904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171455" indent="-171455">
              <a:buFont typeface="Arial" pitchFamily="34" charset="0"/>
              <a:buNone/>
              <a:defRPr lang="en-US" sz="2800" b="1" i="0" u="none" cap="none" baseline="0" noProof="0" dirty="0" smtClean="0">
                <a:solidFill>
                  <a:schemeClr val="tx1"/>
                </a:solidFill>
                <a:latin typeface="Pepi" panose="02000503000000020004" pitchFamily="2" charset="0"/>
                <a:ea typeface="Pepi" panose="02000503000000020004" pitchFamily="2" charset="0"/>
                <a:cs typeface="Pepi" panose="02000503000000020004" pitchFamily="2" charset="0"/>
              </a:defRPr>
            </a:lvl1pPr>
          </a:lstStyle>
          <a:p>
            <a:pPr marL="0" lvl="0" indent="0"/>
            <a:r>
              <a:rPr lang="en-GB" noProof="0" dirty="0"/>
              <a:t>Headline</a:t>
            </a:r>
          </a:p>
        </p:txBody>
      </p:sp>
      <p:sp>
        <p:nvSpPr>
          <p:cNvPr id="12" name="Zástupný symbol pro obsah 14">
            <a:extLst>
              <a:ext uri="{FF2B5EF4-FFF2-40B4-BE49-F238E27FC236}">
                <a16:creationId xmlns:a16="http://schemas.microsoft.com/office/drawing/2014/main" id="{A0004B16-CAAC-0C41-BEA7-5B148FAE736D}"/>
              </a:ext>
            </a:extLst>
          </p:cNvPr>
          <p:cNvSpPr>
            <a:spLocks noGrp="1"/>
          </p:cNvSpPr>
          <p:nvPr>
            <p:ph sz="quarter" idx="27"/>
            <p:custDataLst>
              <p:tags r:id="rId10"/>
            </p:custDataLst>
          </p:nvPr>
        </p:nvSpPr>
        <p:spPr>
          <a:xfrm>
            <a:off x="3628390" y="6539259"/>
            <a:ext cx="4935219" cy="114862"/>
          </a:xfrm>
          <a:noFill/>
        </p:spPr>
        <p:txBody>
          <a:bodyPr anchor="b"/>
          <a:lstStyle>
            <a:lvl1pPr marL="7938" indent="0" algn="ctr">
              <a:spcAft>
                <a:spcPts val="600"/>
              </a:spcAft>
              <a:buClr>
                <a:schemeClr val="tx2"/>
              </a:buClr>
              <a:buNone/>
              <a:defRPr sz="800" b="0" i="0">
                <a:solidFill>
                  <a:schemeClr val="bg2"/>
                </a:solidFill>
                <a:latin typeface="Pepi" panose="02000503000000020004" pitchFamily="2" charset="0"/>
                <a:cs typeface="Pepi" panose="02000503000000020004" pitchFamily="2" charset="0"/>
              </a:defRPr>
            </a:lvl1pPr>
            <a:lvl2pPr marL="1857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tx1"/>
                </a:solidFill>
                <a:latin typeface="Pepi" panose="02000503000000020004" pitchFamily="2" charset="0"/>
                <a:cs typeface="Pepi" panose="02000503000000020004" pitchFamily="2" charset="0"/>
              </a:defRPr>
            </a:lvl2pPr>
            <a:lvl3pPr marL="3635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tx1"/>
                </a:solidFill>
                <a:latin typeface="Pepi" panose="02000503000000020004" pitchFamily="2" charset="0"/>
                <a:cs typeface="Pepi" panose="02000503000000020004" pitchFamily="2" charset="0"/>
              </a:defRPr>
            </a:lvl3pPr>
            <a:lvl4pPr marL="541337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tx1"/>
                </a:solidFill>
                <a:latin typeface="Pepi" panose="02000503000000020004" pitchFamily="2" charset="0"/>
                <a:cs typeface="Pepi" panose="02000503000000020004" pitchFamily="2" charset="0"/>
              </a:defRPr>
            </a:lvl4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559C5C1C-A548-1F45-8FC6-310DFEF105D1}"/>
              </a:ext>
            </a:extLst>
          </p:cNvPr>
          <p:cNvSpPr txBox="1"/>
          <p:nvPr userDrawn="1"/>
        </p:nvSpPr>
        <p:spPr>
          <a:xfrm>
            <a:off x="9464676" y="6511913"/>
            <a:ext cx="2032000" cy="1404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cs-CZ" sz="900" b="0" i="0" dirty="0">
                <a:latin typeface="Pepi" panose="02000503000000020004" pitchFamily="2" charset="0"/>
              </a:rPr>
              <a:t>www.digitaleconomy.network</a:t>
            </a:r>
          </a:p>
        </p:txBody>
      </p:sp>
    </p:spTree>
    <p:extLst>
      <p:ext uri="{BB962C8B-B14F-4D97-AF65-F5344CB8AC3E}">
        <p14:creationId xmlns:p14="http://schemas.microsoft.com/office/powerpoint/2010/main" val="39598127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7BA43E94-4A29-5C42-8BF6-22642A4EF9E0}"/>
              </a:ext>
            </a:extLst>
          </p:cNvPr>
          <p:cNvSpPr/>
          <p:nvPr userDrawn="1"/>
        </p:nvSpPr>
        <p:spPr bwMode="gray">
          <a:xfrm>
            <a:off x="694529" y="2576688"/>
            <a:ext cx="2534401" cy="3768185"/>
          </a:xfrm>
          <a:prstGeom prst="rect">
            <a:avLst/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cs-CZ" sz="1800" ker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64" y="160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964" y="1603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Zástupný symbol pro text 15"/>
          <p:cNvSpPr>
            <a:spLocks noGrp="1"/>
          </p:cNvSpPr>
          <p:nvPr>
            <p:ph type="body" sz="quarter" idx="11" hasCustomPrompt="1"/>
            <p:custDataLst>
              <p:tags r:id="rId2"/>
            </p:custDataLst>
          </p:nvPr>
        </p:nvSpPr>
        <p:spPr>
          <a:xfrm>
            <a:off x="695325" y="261310"/>
            <a:ext cx="10801348" cy="216000"/>
          </a:xfrm>
          <a:ln>
            <a:noFill/>
          </a:ln>
        </p:spPr>
        <p:txBody>
          <a:bodyPr anchor="ctr"/>
          <a:lstStyle>
            <a:lvl1pPr marL="0" indent="0">
              <a:buNone/>
              <a:defRPr sz="1400" b="0" i="1" baseline="0">
                <a:solidFill>
                  <a:schemeClr val="tx1"/>
                </a:solidFill>
                <a:latin typeface="Pepi" panose="02000503000000020004" pitchFamily="2" charset="0"/>
                <a:ea typeface="Pepi" panose="02000503000000020004" pitchFamily="2" charset="0"/>
                <a:cs typeface="Pepi" panose="02000503000000020004" pitchFamily="2" charset="0"/>
              </a:defRPr>
            </a:lvl1pPr>
          </a:lstStyle>
          <a:p>
            <a:pPr lvl="0"/>
            <a:r>
              <a:rPr lang="en-GB" noProof="0" dirty="0"/>
              <a:t>Agenda point</a:t>
            </a:r>
          </a:p>
        </p:txBody>
      </p:sp>
      <p:sp>
        <p:nvSpPr>
          <p:cNvPr id="20" name="Zástupný symbol pro obsah 14"/>
          <p:cNvSpPr>
            <a:spLocks noGrp="1"/>
          </p:cNvSpPr>
          <p:nvPr>
            <p:ph sz="quarter" idx="20"/>
            <p:custDataLst>
              <p:tags r:id="rId3"/>
            </p:custDataLst>
          </p:nvPr>
        </p:nvSpPr>
        <p:spPr>
          <a:xfrm>
            <a:off x="762000" y="3809149"/>
            <a:ext cx="2402114" cy="2482792"/>
          </a:xfrm>
        </p:spPr>
        <p:txBody>
          <a:bodyPr anchor="t"/>
          <a:lstStyle>
            <a:lvl1pPr marL="7938" indent="0">
              <a:spcAft>
                <a:spcPts val="600"/>
              </a:spcAft>
              <a:buClr>
                <a:schemeClr val="tx2"/>
              </a:buClr>
              <a:buNone/>
              <a:defRPr sz="1100" b="0" i="0">
                <a:solidFill>
                  <a:schemeClr val="accent6"/>
                </a:solidFill>
                <a:latin typeface="Pepi" panose="02000503000000020004" pitchFamily="2" charset="0"/>
                <a:cs typeface="Pepi" panose="02000503000000020004" pitchFamily="2" charset="0"/>
              </a:defRPr>
            </a:lvl1pPr>
            <a:lvl2pPr marL="1857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accent6"/>
                </a:solidFill>
                <a:latin typeface="Pepi" panose="02000503000000020004" pitchFamily="2" charset="0"/>
                <a:cs typeface="Pepi" panose="02000503000000020004" pitchFamily="2" charset="0"/>
              </a:defRPr>
            </a:lvl2pPr>
            <a:lvl3pPr marL="3635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accent6"/>
                </a:solidFill>
                <a:latin typeface="Pepi" panose="02000503000000020004" pitchFamily="2" charset="0"/>
                <a:cs typeface="Pepi" panose="02000503000000020004" pitchFamily="2" charset="0"/>
              </a:defRPr>
            </a:lvl3pPr>
            <a:lvl4pPr marL="541337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accent6"/>
                </a:solidFill>
                <a:latin typeface="Pepi" panose="02000503000000020004" pitchFamily="2" charset="0"/>
                <a:cs typeface="Pepi" panose="02000503000000020004" pitchFamily="2" charset="0"/>
              </a:defRPr>
            </a:lvl4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13" name="Zástupný symbol pro text 7">
            <a:extLst>
              <a:ext uri="{FF2B5EF4-FFF2-40B4-BE49-F238E27FC236}">
                <a16:creationId xmlns:a16="http://schemas.microsoft.com/office/drawing/2014/main" id="{27222F99-F67C-3A47-8A4F-F15DBB10DF0C}"/>
              </a:ext>
            </a:extLst>
          </p:cNvPr>
          <p:cNvSpPr>
            <a:spLocks noGrp="1"/>
          </p:cNvSpPr>
          <p:nvPr>
            <p:ph type="body" sz="quarter" idx="26" hasCustomPrompt="1"/>
            <p:custDataLst>
              <p:tags r:id="rId4"/>
            </p:custDataLst>
          </p:nvPr>
        </p:nvSpPr>
        <p:spPr>
          <a:xfrm>
            <a:off x="695727" y="479449"/>
            <a:ext cx="10800946" cy="424904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171455" indent="-171455">
              <a:buFont typeface="Arial" pitchFamily="34" charset="0"/>
              <a:buNone/>
              <a:defRPr lang="en-US" sz="2800" b="1" i="0" u="none" cap="none" baseline="0" noProof="0" dirty="0" smtClean="0">
                <a:solidFill>
                  <a:schemeClr val="tx1"/>
                </a:solidFill>
                <a:latin typeface="Pepi" panose="02000503000000020004" pitchFamily="2" charset="0"/>
                <a:ea typeface="Pepi" panose="02000503000000020004" pitchFamily="2" charset="0"/>
                <a:cs typeface="Pepi" panose="02000503000000020004" pitchFamily="2" charset="0"/>
              </a:defRPr>
            </a:lvl1pPr>
          </a:lstStyle>
          <a:p>
            <a:pPr marL="0" lvl="0" indent="0"/>
            <a:r>
              <a:rPr lang="en-GB" noProof="0" dirty="0"/>
              <a:t>Headline</a:t>
            </a:r>
          </a:p>
        </p:txBody>
      </p:sp>
      <p:sp>
        <p:nvSpPr>
          <p:cNvPr id="16" name="Zástupný symbol pro text 7">
            <a:extLst>
              <a:ext uri="{FF2B5EF4-FFF2-40B4-BE49-F238E27FC236}">
                <a16:creationId xmlns:a16="http://schemas.microsoft.com/office/drawing/2014/main" id="{8345927C-7AFB-034B-87CB-E0A1AD9C5D47}"/>
              </a:ext>
            </a:extLst>
          </p:cNvPr>
          <p:cNvSpPr>
            <a:spLocks noGrp="1"/>
          </p:cNvSpPr>
          <p:nvPr>
            <p:ph type="body" sz="quarter" idx="27" hasCustomPrompt="1"/>
            <p:custDataLst>
              <p:tags r:id="rId5"/>
            </p:custDataLst>
          </p:nvPr>
        </p:nvSpPr>
        <p:spPr>
          <a:xfrm>
            <a:off x="762397" y="2701168"/>
            <a:ext cx="2402113" cy="612572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171455" indent="-171455">
              <a:buFont typeface="Arial" pitchFamily="34" charset="0"/>
              <a:buNone/>
              <a:defRPr lang="en-US" sz="2000" b="1" i="0" u="none" cap="none" baseline="0" noProof="0" dirty="0" smtClean="0">
                <a:solidFill>
                  <a:schemeClr val="accent6"/>
                </a:solidFill>
                <a:latin typeface="Pepi" panose="02000503000000020004" pitchFamily="2" charset="0"/>
                <a:ea typeface="Pepi" panose="02000503000000020004" pitchFamily="2" charset="0"/>
                <a:cs typeface="Pepi" panose="02000503000000020004" pitchFamily="2" charset="0"/>
              </a:defRPr>
            </a:lvl1pPr>
          </a:lstStyle>
          <a:p>
            <a:pPr marL="0" lvl="0" indent="0"/>
            <a:r>
              <a:rPr lang="en-GB" noProof="0" dirty="0"/>
              <a:t>JMÉNO</a:t>
            </a:r>
          </a:p>
          <a:p>
            <a:pPr marL="0" lvl="0" indent="0"/>
            <a:r>
              <a:rPr lang="en-GB" noProof="0" dirty="0"/>
              <a:t>PŘÍJMENÍ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B04717DB-4CFD-4043-9998-D07D0C93E13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762000" y="3689656"/>
            <a:ext cx="680956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" name="Obdélník 3">
            <a:extLst>
              <a:ext uri="{FF2B5EF4-FFF2-40B4-BE49-F238E27FC236}">
                <a16:creationId xmlns:a16="http://schemas.microsoft.com/office/drawing/2014/main" id="{7C00AD84-1B30-0444-9A10-E21DFBCDED36}"/>
              </a:ext>
            </a:extLst>
          </p:cNvPr>
          <p:cNvSpPr/>
          <p:nvPr userDrawn="1"/>
        </p:nvSpPr>
        <p:spPr bwMode="gray">
          <a:xfrm>
            <a:off x="694927" y="1148321"/>
            <a:ext cx="2534399" cy="1428371"/>
          </a:xfrm>
          <a:prstGeom prst="rect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cs-CZ" sz="1800" kern="0">
              <a:ln>
                <a:noFill/>
              </a:ln>
              <a:solidFill>
                <a:schemeClr val="bg2"/>
              </a:solidFill>
            </a:endParaRPr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FAE0E958-239D-8A4D-A6C8-1906688ED6FB}"/>
              </a:ext>
            </a:extLst>
          </p:cNvPr>
          <p:cNvSpPr/>
          <p:nvPr userDrawn="1"/>
        </p:nvSpPr>
        <p:spPr bwMode="gray">
          <a:xfrm>
            <a:off x="3459778" y="1148317"/>
            <a:ext cx="2534399" cy="1428371"/>
          </a:xfrm>
          <a:prstGeom prst="rect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cs-CZ" sz="1800" kern="0">
              <a:ln>
                <a:noFill/>
              </a:ln>
              <a:solidFill>
                <a:schemeClr val="bg2"/>
              </a:solidFill>
            </a:endParaRP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C7D6B93E-89A5-6F41-A14B-E0F48AD70972}"/>
              </a:ext>
            </a:extLst>
          </p:cNvPr>
          <p:cNvSpPr/>
          <p:nvPr userDrawn="1"/>
        </p:nvSpPr>
        <p:spPr bwMode="gray">
          <a:xfrm>
            <a:off x="6197025" y="1148319"/>
            <a:ext cx="2534399" cy="1428371"/>
          </a:xfrm>
          <a:prstGeom prst="rect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cs-CZ" sz="1800" kern="0">
              <a:ln>
                <a:noFill/>
              </a:ln>
              <a:solidFill>
                <a:schemeClr val="bg2"/>
              </a:solidFill>
            </a:endParaRPr>
          </a:p>
        </p:txBody>
      </p:sp>
      <p:sp>
        <p:nvSpPr>
          <p:cNvPr id="33" name="Obdélník 32">
            <a:extLst>
              <a:ext uri="{FF2B5EF4-FFF2-40B4-BE49-F238E27FC236}">
                <a16:creationId xmlns:a16="http://schemas.microsoft.com/office/drawing/2014/main" id="{DDC19EE0-CA0D-A44A-A79A-2E0CBCC7233F}"/>
              </a:ext>
            </a:extLst>
          </p:cNvPr>
          <p:cNvSpPr/>
          <p:nvPr userDrawn="1"/>
        </p:nvSpPr>
        <p:spPr bwMode="gray">
          <a:xfrm>
            <a:off x="8961876" y="1148318"/>
            <a:ext cx="2534399" cy="1428371"/>
          </a:xfrm>
          <a:prstGeom prst="rect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cs-CZ" sz="1800" kern="0">
              <a:ln>
                <a:noFill/>
              </a:ln>
              <a:solidFill>
                <a:schemeClr val="bg2"/>
              </a:solidFill>
            </a:endParaRPr>
          </a:p>
        </p:txBody>
      </p:sp>
      <p:sp>
        <p:nvSpPr>
          <p:cNvPr id="34" name="Zástupný symbol pro text 7">
            <a:extLst>
              <a:ext uri="{FF2B5EF4-FFF2-40B4-BE49-F238E27FC236}">
                <a16:creationId xmlns:a16="http://schemas.microsoft.com/office/drawing/2014/main" id="{CADF4CE2-DF6D-8345-A43F-A9F06A2C009C}"/>
              </a:ext>
            </a:extLst>
          </p:cNvPr>
          <p:cNvSpPr>
            <a:spLocks noGrp="1"/>
          </p:cNvSpPr>
          <p:nvPr>
            <p:ph type="body" sz="quarter" idx="35" hasCustomPrompt="1"/>
            <p:custDataLst>
              <p:tags r:id="rId6"/>
            </p:custDataLst>
          </p:nvPr>
        </p:nvSpPr>
        <p:spPr>
          <a:xfrm>
            <a:off x="762396" y="3313740"/>
            <a:ext cx="2402113" cy="255288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171455" indent="-171455">
              <a:buFont typeface="Arial" pitchFamily="34" charset="0"/>
              <a:buNone/>
              <a:defRPr lang="en-US" sz="1100" b="0" i="0" u="none" cap="none" baseline="0" noProof="0" dirty="0" smtClean="0">
                <a:solidFill>
                  <a:schemeClr val="accent6"/>
                </a:solidFill>
                <a:latin typeface="Pepi" panose="02000503000000020004" pitchFamily="2" charset="0"/>
                <a:ea typeface="Pepi" panose="02000503000000020004" pitchFamily="2" charset="0"/>
                <a:cs typeface="Pepi" panose="02000503000000020004" pitchFamily="2" charset="0"/>
              </a:defRPr>
            </a:lvl1pPr>
          </a:lstStyle>
          <a:p>
            <a:pPr marL="0" lvl="0" indent="0"/>
            <a:r>
              <a:rPr lang="en-GB" noProof="0" dirty="0" err="1"/>
              <a:t>Funkce</a:t>
            </a:r>
            <a:endParaRPr lang="en-GB" noProof="0" dirty="0"/>
          </a:p>
        </p:txBody>
      </p:sp>
      <p:sp>
        <p:nvSpPr>
          <p:cNvPr id="35" name="Zástupný symbol pro obsah 14">
            <a:extLst>
              <a:ext uri="{FF2B5EF4-FFF2-40B4-BE49-F238E27FC236}">
                <a16:creationId xmlns:a16="http://schemas.microsoft.com/office/drawing/2014/main" id="{A6E63B29-4714-224E-9FFF-B8F1D2621FFB}"/>
              </a:ext>
            </a:extLst>
          </p:cNvPr>
          <p:cNvSpPr>
            <a:spLocks noGrp="1"/>
          </p:cNvSpPr>
          <p:nvPr>
            <p:ph sz="quarter" idx="39"/>
            <p:custDataLst>
              <p:tags r:id="rId7"/>
            </p:custDataLst>
          </p:nvPr>
        </p:nvSpPr>
        <p:spPr>
          <a:xfrm>
            <a:off x="3628390" y="6539259"/>
            <a:ext cx="4935219" cy="114862"/>
          </a:xfrm>
          <a:noFill/>
        </p:spPr>
        <p:txBody>
          <a:bodyPr anchor="b"/>
          <a:lstStyle>
            <a:lvl1pPr marL="7938" indent="0" algn="ctr">
              <a:spcAft>
                <a:spcPts val="600"/>
              </a:spcAft>
              <a:buClr>
                <a:schemeClr val="tx2"/>
              </a:buClr>
              <a:buNone/>
              <a:defRPr sz="800" b="0" i="0">
                <a:solidFill>
                  <a:schemeClr val="bg2"/>
                </a:solidFill>
                <a:latin typeface="Pepi" panose="02000503000000020004" pitchFamily="2" charset="0"/>
                <a:cs typeface="Pepi" panose="02000503000000020004" pitchFamily="2" charset="0"/>
              </a:defRPr>
            </a:lvl1pPr>
            <a:lvl2pPr marL="1857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tx1"/>
                </a:solidFill>
                <a:latin typeface="Pepi" panose="02000503000000020004" pitchFamily="2" charset="0"/>
                <a:cs typeface="Pepi" panose="02000503000000020004" pitchFamily="2" charset="0"/>
              </a:defRPr>
            </a:lvl2pPr>
            <a:lvl3pPr marL="3635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tx1"/>
                </a:solidFill>
                <a:latin typeface="Pepi" panose="02000503000000020004" pitchFamily="2" charset="0"/>
                <a:cs typeface="Pepi" panose="02000503000000020004" pitchFamily="2" charset="0"/>
              </a:defRPr>
            </a:lvl3pPr>
            <a:lvl4pPr marL="541337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tx1"/>
                </a:solidFill>
                <a:latin typeface="Pepi" panose="02000503000000020004" pitchFamily="2" charset="0"/>
                <a:cs typeface="Pepi" panose="02000503000000020004" pitchFamily="2" charset="0"/>
              </a:defRPr>
            </a:lvl4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89C7B287-DE10-8742-8EB1-8D0F171F897C}"/>
              </a:ext>
            </a:extLst>
          </p:cNvPr>
          <p:cNvSpPr/>
          <p:nvPr userDrawn="1"/>
        </p:nvSpPr>
        <p:spPr bwMode="gray">
          <a:xfrm>
            <a:off x="3459382" y="2576688"/>
            <a:ext cx="2534401" cy="3768185"/>
          </a:xfrm>
          <a:prstGeom prst="rect">
            <a:avLst/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cs-CZ" sz="1800" kern="0">
              <a:solidFill>
                <a:sysClr val="windowText" lastClr="000000"/>
              </a:solidFill>
            </a:endParaRPr>
          </a:p>
        </p:txBody>
      </p:sp>
      <p:sp>
        <p:nvSpPr>
          <p:cNvPr id="40" name="Zástupný symbol pro obsah 14">
            <a:extLst>
              <a:ext uri="{FF2B5EF4-FFF2-40B4-BE49-F238E27FC236}">
                <a16:creationId xmlns:a16="http://schemas.microsoft.com/office/drawing/2014/main" id="{797B2662-8E2F-C34B-AF40-75674E5A6FC7}"/>
              </a:ext>
            </a:extLst>
          </p:cNvPr>
          <p:cNvSpPr>
            <a:spLocks noGrp="1"/>
          </p:cNvSpPr>
          <p:nvPr>
            <p:ph sz="quarter" idx="40"/>
            <p:custDataLst>
              <p:tags r:id="rId8"/>
            </p:custDataLst>
          </p:nvPr>
        </p:nvSpPr>
        <p:spPr>
          <a:xfrm>
            <a:off x="3526853" y="3809149"/>
            <a:ext cx="2402114" cy="2482792"/>
          </a:xfrm>
        </p:spPr>
        <p:txBody>
          <a:bodyPr anchor="t"/>
          <a:lstStyle>
            <a:lvl1pPr marL="7938" indent="0">
              <a:spcAft>
                <a:spcPts val="600"/>
              </a:spcAft>
              <a:buClr>
                <a:schemeClr val="tx2"/>
              </a:buClr>
              <a:buNone/>
              <a:defRPr sz="1100" b="0" i="0">
                <a:solidFill>
                  <a:schemeClr val="accent6"/>
                </a:solidFill>
                <a:latin typeface="Pepi" panose="02000503000000020004" pitchFamily="2" charset="0"/>
                <a:cs typeface="Pepi" panose="02000503000000020004" pitchFamily="2" charset="0"/>
              </a:defRPr>
            </a:lvl1pPr>
            <a:lvl2pPr marL="1857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accent6"/>
                </a:solidFill>
                <a:latin typeface="Pepi" panose="02000503000000020004" pitchFamily="2" charset="0"/>
                <a:cs typeface="Pepi" panose="02000503000000020004" pitchFamily="2" charset="0"/>
              </a:defRPr>
            </a:lvl2pPr>
            <a:lvl3pPr marL="3635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accent6"/>
                </a:solidFill>
                <a:latin typeface="Pepi" panose="02000503000000020004" pitchFamily="2" charset="0"/>
                <a:cs typeface="Pepi" panose="02000503000000020004" pitchFamily="2" charset="0"/>
              </a:defRPr>
            </a:lvl3pPr>
            <a:lvl4pPr marL="541337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accent6"/>
                </a:solidFill>
                <a:latin typeface="Pepi" panose="02000503000000020004" pitchFamily="2" charset="0"/>
                <a:cs typeface="Pepi" panose="02000503000000020004" pitchFamily="2" charset="0"/>
              </a:defRPr>
            </a:lvl4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41" name="Zástupný symbol pro text 7">
            <a:extLst>
              <a:ext uri="{FF2B5EF4-FFF2-40B4-BE49-F238E27FC236}">
                <a16:creationId xmlns:a16="http://schemas.microsoft.com/office/drawing/2014/main" id="{A31F6481-08B6-7A49-A93A-E9B136452FA9}"/>
              </a:ext>
            </a:extLst>
          </p:cNvPr>
          <p:cNvSpPr>
            <a:spLocks noGrp="1"/>
          </p:cNvSpPr>
          <p:nvPr>
            <p:ph type="body" sz="quarter" idx="41" hasCustomPrompt="1"/>
            <p:custDataLst>
              <p:tags r:id="rId9"/>
            </p:custDataLst>
          </p:nvPr>
        </p:nvSpPr>
        <p:spPr>
          <a:xfrm>
            <a:off x="3527250" y="2701168"/>
            <a:ext cx="2402113" cy="612572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171455" indent="-171455">
              <a:buFont typeface="Arial" pitchFamily="34" charset="0"/>
              <a:buNone/>
              <a:defRPr lang="en-US" sz="2000" b="1" i="0" u="none" cap="none" baseline="0" noProof="0" dirty="0" smtClean="0">
                <a:solidFill>
                  <a:schemeClr val="accent6"/>
                </a:solidFill>
                <a:latin typeface="Pepi" panose="02000503000000020004" pitchFamily="2" charset="0"/>
                <a:ea typeface="Pepi" panose="02000503000000020004" pitchFamily="2" charset="0"/>
                <a:cs typeface="Pepi" panose="02000503000000020004" pitchFamily="2" charset="0"/>
              </a:defRPr>
            </a:lvl1pPr>
          </a:lstStyle>
          <a:p>
            <a:pPr marL="0" lvl="0" indent="0"/>
            <a:r>
              <a:rPr lang="en-GB" noProof="0" dirty="0"/>
              <a:t>JMÉNO</a:t>
            </a:r>
          </a:p>
          <a:p>
            <a:pPr marL="0" lvl="0" indent="0"/>
            <a:r>
              <a:rPr lang="en-GB" noProof="0" dirty="0"/>
              <a:t>PŘÍJMENÍ</a:t>
            </a:r>
          </a:p>
        </p:txBody>
      </p:sp>
      <p:cxnSp>
        <p:nvCxnSpPr>
          <p:cNvPr id="42" name="Přímá spojnice 41">
            <a:extLst>
              <a:ext uri="{FF2B5EF4-FFF2-40B4-BE49-F238E27FC236}">
                <a16:creationId xmlns:a16="http://schemas.microsoft.com/office/drawing/2014/main" id="{43710484-52E1-0C41-BD2B-12B6C9C7892D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526853" y="3689656"/>
            <a:ext cx="680956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3" name="Zástupný symbol pro text 7">
            <a:extLst>
              <a:ext uri="{FF2B5EF4-FFF2-40B4-BE49-F238E27FC236}">
                <a16:creationId xmlns:a16="http://schemas.microsoft.com/office/drawing/2014/main" id="{9B49CA56-C358-4B41-BD07-45BED247B87F}"/>
              </a:ext>
            </a:extLst>
          </p:cNvPr>
          <p:cNvSpPr>
            <a:spLocks noGrp="1"/>
          </p:cNvSpPr>
          <p:nvPr>
            <p:ph type="body" sz="quarter" idx="42" hasCustomPrompt="1"/>
            <p:custDataLst>
              <p:tags r:id="rId10"/>
            </p:custDataLst>
          </p:nvPr>
        </p:nvSpPr>
        <p:spPr>
          <a:xfrm>
            <a:off x="3527249" y="3313740"/>
            <a:ext cx="2402113" cy="255288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171455" indent="-171455">
              <a:buFont typeface="Arial" pitchFamily="34" charset="0"/>
              <a:buNone/>
              <a:defRPr lang="en-US" sz="1100" b="0" i="0" u="none" cap="none" baseline="0" noProof="0" dirty="0" smtClean="0">
                <a:solidFill>
                  <a:schemeClr val="accent6"/>
                </a:solidFill>
                <a:latin typeface="Pepi" panose="02000503000000020004" pitchFamily="2" charset="0"/>
                <a:ea typeface="Pepi" panose="02000503000000020004" pitchFamily="2" charset="0"/>
                <a:cs typeface="Pepi" panose="02000503000000020004" pitchFamily="2" charset="0"/>
              </a:defRPr>
            </a:lvl1pPr>
          </a:lstStyle>
          <a:p>
            <a:pPr marL="0" lvl="0" indent="0"/>
            <a:r>
              <a:rPr lang="en-GB" noProof="0" dirty="0" err="1"/>
              <a:t>Funkce</a:t>
            </a:r>
            <a:endParaRPr lang="en-GB" noProof="0" dirty="0"/>
          </a:p>
        </p:txBody>
      </p:sp>
      <p:sp>
        <p:nvSpPr>
          <p:cNvPr id="44" name="Obdélník 43">
            <a:extLst>
              <a:ext uri="{FF2B5EF4-FFF2-40B4-BE49-F238E27FC236}">
                <a16:creationId xmlns:a16="http://schemas.microsoft.com/office/drawing/2014/main" id="{8044762D-46E0-AA44-83A3-FCDC572FA99B}"/>
              </a:ext>
            </a:extLst>
          </p:cNvPr>
          <p:cNvSpPr/>
          <p:nvPr userDrawn="1"/>
        </p:nvSpPr>
        <p:spPr bwMode="gray">
          <a:xfrm>
            <a:off x="6197023" y="2576688"/>
            <a:ext cx="2534401" cy="3768185"/>
          </a:xfrm>
          <a:prstGeom prst="rect">
            <a:avLst/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cs-CZ" sz="1800" kern="0">
              <a:solidFill>
                <a:sysClr val="windowText" lastClr="000000"/>
              </a:solidFill>
            </a:endParaRPr>
          </a:p>
        </p:txBody>
      </p:sp>
      <p:sp>
        <p:nvSpPr>
          <p:cNvPr id="45" name="Zástupný symbol pro obsah 14">
            <a:extLst>
              <a:ext uri="{FF2B5EF4-FFF2-40B4-BE49-F238E27FC236}">
                <a16:creationId xmlns:a16="http://schemas.microsoft.com/office/drawing/2014/main" id="{8FFAD78A-FE0B-864B-AE46-0F638A426623}"/>
              </a:ext>
            </a:extLst>
          </p:cNvPr>
          <p:cNvSpPr>
            <a:spLocks noGrp="1"/>
          </p:cNvSpPr>
          <p:nvPr>
            <p:ph sz="quarter" idx="43"/>
            <p:custDataLst>
              <p:tags r:id="rId11"/>
            </p:custDataLst>
          </p:nvPr>
        </p:nvSpPr>
        <p:spPr>
          <a:xfrm>
            <a:off x="6264494" y="3809149"/>
            <a:ext cx="2402114" cy="2482792"/>
          </a:xfrm>
        </p:spPr>
        <p:txBody>
          <a:bodyPr anchor="t"/>
          <a:lstStyle>
            <a:lvl1pPr marL="7938" indent="0">
              <a:spcAft>
                <a:spcPts val="600"/>
              </a:spcAft>
              <a:buClr>
                <a:schemeClr val="tx2"/>
              </a:buClr>
              <a:buNone/>
              <a:defRPr sz="1100" b="0" i="0">
                <a:solidFill>
                  <a:schemeClr val="accent6"/>
                </a:solidFill>
                <a:latin typeface="Pepi" panose="02000503000000020004" pitchFamily="2" charset="0"/>
                <a:cs typeface="Pepi" panose="02000503000000020004" pitchFamily="2" charset="0"/>
              </a:defRPr>
            </a:lvl1pPr>
            <a:lvl2pPr marL="1857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accent6"/>
                </a:solidFill>
                <a:latin typeface="Pepi" panose="02000503000000020004" pitchFamily="2" charset="0"/>
                <a:cs typeface="Pepi" panose="02000503000000020004" pitchFamily="2" charset="0"/>
              </a:defRPr>
            </a:lvl2pPr>
            <a:lvl3pPr marL="3635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accent6"/>
                </a:solidFill>
                <a:latin typeface="Pepi" panose="02000503000000020004" pitchFamily="2" charset="0"/>
                <a:cs typeface="Pepi" panose="02000503000000020004" pitchFamily="2" charset="0"/>
              </a:defRPr>
            </a:lvl3pPr>
            <a:lvl4pPr marL="541337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accent6"/>
                </a:solidFill>
                <a:latin typeface="Pepi" panose="02000503000000020004" pitchFamily="2" charset="0"/>
                <a:cs typeface="Pepi" panose="02000503000000020004" pitchFamily="2" charset="0"/>
              </a:defRPr>
            </a:lvl4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46" name="Zástupný symbol pro text 7">
            <a:extLst>
              <a:ext uri="{FF2B5EF4-FFF2-40B4-BE49-F238E27FC236}">
                <a16:creationId xmlns:a16="http://schemas.microsoft.com/office/drawing/2014/main" id="{23767195-DCDC-9D46-B034-B52292EC2E7A}"/>
              </a:ext>
            </a:extLst>
          </p:cNvPr>
          <p:cNvSpPr>
            <a:spLocks noGrp="1"/>
          </p:cNvSpPr>
          <p:nvPr>
            <p:ph type="body" sz="quarter" idx="44" hasCustomPrompt="1"/>
            <p:custDataLst>
              <p:tags r:id="rId12"/>
            </p:custDataLst>
          </p:nvPr>
        </p:nvSpPr>
        <p:spPr>
          <a:xfrm>
            <a:off x="6264891" y="2701168"/>
            <a:ext cx="2402113" cy="612572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171455" indent="-171455">
              <a:buFont typeface="Arial" pitchFamily="34" charset="0"/>
              <a:buNone/>
              <a:defRPr lang="en-US" sz="2000" b="1" i="0" u="none" cap="none" baseline="0" noProof="0" dirty="0" smtClean="0">
                <a:solidFill>
                  <a:schemeClr val="accent6"/>
                </a:solidFill>
                <a:latin typeface="Pepi" panose="02000503000000020004" pitchFamily="2" charset="0"/>
                <a:ea typeface="Pepi" panose="02000503000000020004" pitchFamily="2" charset="0"/>
                <a:cs typeface="Pepi" panose="02000503000000020004" pitchFamily="2" charset="0"/>
              </a:defRPr>
            </a:lvl1pPr>
          </a:lstStyle>
          <a:p>
            <a:pPr marL="0" lvl="0" indent="0"/>
            <a:r>
              <a:rPr lang="en-GB" noProof="0" dirty="0"/>
              <a:t>JMÉNO</a:t>
            </a:r>
          </a:p>
          <a:p>
            <a:pPr marL="0" lvl="0" indent="0"/>
            <a:r>
              <a:rPr lang="en-GB" noProof="0" dirty="0"/>
              <a:t>PŘÍJMENÍ</a:t>
            </a:r>
          </a:p>
        </p:txBody>
      </p:sp>
      <p:cxnSp>
        <p:nvCxnSpPr>
          <p:cNvPr id="47" name="Přímá spojnice 46">
            <a:extLst>
              <a:ext uri="{FF2B5EF4-FFF2-40B4-BE49-F238E27FC236}">
                <a16:creationId xmlns:a16="http://schemas.microsoft.com/office/drawing/2014/main" id="{B6D057D8-BAB9-3E4F-98D1-C931E4CD2ED0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264494" y="3689656"/>
            <a:ext cx="680956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8" name="Zástupný symbol pro text 7">
            <a:extLst>
              <a:ext uri="{FF2B5EF4-FFF2-40B4-BE49-F238E27FC236}">
                <a16:creationId xmlns:a16="http://schemas.microsoft.com/office/drawing/2014/main" id="{9EB0D05A-7D5E-2942-B344-75B00AE84311}"/>
              </a:ext>
            </a:extLst>
          </p:cNvPr>
          <p:cNvSpPr>
            <a:spLocks noGrp="1"/>
          </p:cNvSpPr>
          <p:nvPr>
            <p:ph type="body" sz="quarter" idx="45" hasCustomPrompt="1"/>
            <p:custDataLst>
              <p:tags r:id="rId13"/>
            </p:custDataLst>
          </p:nvPr>
        </p:nvSpPr>
        <p:spPr>
          <a:xfrm>
            <a:off x="6264890" y="3313740"/>
            <a:ext cx="2402113" cy="255288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171455" indent="-171455">
              <a:buFont typeface="Arial" pitchFamily="34" charset="0"/>
              <a:buNone/>
              <a:defRPr lang="en-US" sz="1100" b="0" i="0" u="none" cap="none" baseline="0" noProof="0" dirty="0" smtClean="0">
                <a:solidFill>
                  <a:schemeClr val="accent6"/>
                </a:solidFill>
                <a:latin typeface="Pepi" panose="02000503000000020004" pitchFamily="2" charset="0"/>
                <a:ea typeface="Pepi" panose="02000503000000020004" pitchFamily="2" charset="0"/>
                <a:cs typeface="Pepi" panose="02000503000000020004" pitchFamily="2" charset="0"/>
              </a:defRPr>
            </a:lvl1pPr>
          </a:lstStyle>
          <a:p>
            <a:pPr marL="0" lvl="0" indent="0"/>
            <a:r>
              <a:rPr lang="en-GB" noProof="0" dirty="0" err="1"/>
              <a:t>Funkce</a:t>
            </a:r>
            <a:endParaRPr lang="en-GB" noProof="0" dirty="0"/>
          </a:p>
        </p:txBody>
      </p:sp>
      <p:sp>
        <p:nvSpPr>
          <p:cNvPr id="49" name="Obdélník 48">
            <a:extLst>
              <a:ext uri="{FF2B5EF4-FFF2-40B4-BE49-F238E27FC236}">
                <a16:creationId xmlns:a16="http://schemas.microsoft.com/office/drawing/2014/main" id="{B0162E60-DA9D-1940-94A9-58D291BA7587}"/>
              </a:ext>
            </a:extLst>
          </p:cNvPr>
          <p:cNvSpPr/>
          <p:nvPr userDrawn="1"/>
        </p:nvSpPr>
        <p:spPr bwMode="gray">
          <a:xfrm>
            <a:off x="8961876" y="2576688"/>
            <a:ext cx="2534401" cy="3768185"/>
          </a:xfrm>
          <a:prstGeom prst="rect">
            <a:avLst/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wrap="none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cs-CZ" sz="1800" kern="0">
              <a:solidFill>
                <a:sysClr val="windowText" lastClr="000000"/>
              </a:solidFill>
            </a:endParaRPr>
          </a:p>
        </p:txBody>
      </p:sp>
      <p:sp>
        <p:nvSpPr>
          <p:cNvPr id="50" name="Zástupný symbol pro obsah 14">
            <a:extLst>
              <a:ext uri="{FF2B5EF4-FFF2-40B4-BE49-F238E27FC236}">
                <a16:creationId xmlns:a16="http://schemas.microsoft.com/office/drawing/2014/main" id="{AC83D61D-3AE3-CB4D-84DB-3F080C7F6A5E}"/>
              </a:ext>
            </a:extLst>
          </p:cNvPr>
          <p:cNvSpPr>
            <a:spLocks noGrp="1"/>
          </p:cNvSpPr>
          <p:nvPr>
            <p:ph sz="quarter" idx="46"/>
            <p:custDataLst>
              <p:tags r:id="rId14"/>
            </p:custDataLst>
          </p:nvPr>
        </p:nvSpPr>
        <p:spPr>
          <a:xfrm>
            <a:off x="9029347" y="3809149"/>
            <a:ext cx="2402114" cy="2482792"/>
          </a:xfrm>
        </p:spPr>
        <p:txBody>
          <a:bodyPr anchor="t"/>
          <a:lstStyle>
            <a:lvl1pPr marL="7938" indent="0">
              <a:spcAft>
                <a:spcPts val="600"/>
              </a:spcAft>
              <a:buClr>
                <a:schemeClr val="tx2"/>
              </a:buClr>
              <a:buNone/>
              <a:defRPr sz="1100" b="0" i="0">
                <a:solidFill>
                  <a:schemeClr val="accent6"/>
                </a:solidFill>
                <a:latin typeface="Pepi" panose="02000503000000020004" pitchFamily="2" charset="0"/>
                <a:cs typeface="Pepi" panose="02000503000000020004" pitchFamily="2" charset="0"/>
              </a:defRPr>
            </a:lvl1pPr>
            <a:lvl2pPr marL="1857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accent6"/>
                </a:solidFill>
                <a:latin typeface="Pepi" panose="02000503000000020004" pitchFamily="2" charset="0"/>
                <a:cs typeface="Pepi" panose="02000503000000020004" pitchFamily="2" charset="0"/>
              </a:defRPr>
            </a:lvl2pPr>
            <a:lvl3pPr marL="363538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accent6"/>
                </a:solidFill>
                <a:latin typeface="Pepi" panose="02000503000000020004" pitchFamily="2" charset="0"/>
                <a:cs typeface="Pepi" panose="02000503000000020004" pitchFamily="2" charset="0"/>
              </a:defRPr>
            </a:lvl3pPr>
            <a:lvl4pPr marL="541337" indent="0">
              <a:spcAft>
                <a:spcPts val="600"/>
              </a:spcAft>
              <a:buClr>
                <a:schemeClr val="tx2"/>
              </a:buClr>
              <a:buNone/>
              <a:defRPr sz="1400" b="0" i="0">
                <a:solidFill>
                  <a:schemeClr val="accent6"/>
                </a:solidFill>
                <a:latin typeface="Pepi" panose="02000503000000020004" pitchFamily="2" charset="0"/>
                <a:cs typeface="Pepi" panose="02000503000000020004" pitchFamily="2" charset="0"/>
              </a:defRPr>
            </a:lvl4pPr>
          </a:lstStyle>
          <a:p>
            <a:pPr lvl="0"/>
            <a:r>
              <a:rPr lang="cs-CZ" noProof="0"/>
              <a:t>Po kliknutí můžete upravovat styly textu v předloze.</a:t>
            </a:r>
          </a:p>
        </p:txBody>
      </p:sp>
      <p:sp>
        <p:nvSpPr>
          <p:cNvPr id="51" name="Zástupný symbol pro text 7">
            <a:extLst>
              <a:ext uri="{FF2B5EF4-FFF2-40B4-BE49-F238E27FC236}">
                <a16:creationId xmlns:a16="http://schemas.microsoft.com/office/drawing/2014/main" id="{71B79FF2-319D-9745-80A4-B1B2D7645255}"/>
              </a:ext>
            </a:extLst>
          </p:cNvPr>
          <p:cNvSpPr>
            <a:spLocks noGrp="1"/>
          </p:cNvSpPr>
          <p:nvPr>
            <p:ph type="body" sz="quarter" idx="47" hasCustomPrompt="1"/>
            <p:custDataLst>
              <p:tags r:id="rId15"/>
            </p:custDataLst>
          </p:nvPr>
        </p:nvSpPr>
        <p:spPr>
          <a:xfrm>
            <a:off x="9029744" y="2701168"/>
            <a:ext cx="2402113" cy="612572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171455" indent="-171455">
              <a:buFont typeface="Arial" pitchFamily="34" charset="0"/>
              <a:buNone/>
              <a:defRPr lang="en-US" sz="2000" b="1" i="0" u="none" cap="none" baseline="0" noProof="0" dirty="0" smtClean="0">
                <a:solidFill>
                  <a:schemeClr val="accent6"/>
                </a:solidFill>
                <a:latin typeface="Pepi" panose="02000503000000020004" pitchFamily="2" charset="0"/>
                <a:ea typeface="Pepi" panose="02000503000000020004" pitchFamily="2" charset="0"/>
                <a:cs typeface="Pepi" panose="02000503000000020004" pitchFamily="2" charset="0"/>
              </a:defRPr>
            </a:lvl1pPr>
          </a:lstStyle>
          <a:p>
            <a:pPr marL="0" lvl="0" indent="0"/>
            <a:r>
              <a:rPr lang="en-GB" noProof="0" dirty="0"/>
              <a:t>JMÉNO</a:t>
            </a:r>
          </a:p>
          <a:p>
            <a:pPr marL="0" lvl="0" indent="0"/>
            <a:r>
              <a:rPr lang="en-GB" noProof="0" dirty="0"/>
              <a:t>PŘÍJMENÍ</a:t>
            </a:r>
          </a:p>
        </p:txBody>
      </p:sp>
      <p:cxnSp>
        <p:nvCxnSpPr>
          <p:cNvPr id="52" name="Přímá spojnice 51">
            <a:extLst>
              <a:ext uri="{FF2B5EF4-FFF2-40B4-BE49-F238E27FC236}">
                <a16:creationId xmlns:a16="http://schemas.microsoft.com/office/drawing/2014/main" id="{31C5F2E1-A1E8-354B-8738-B4B302EF4C1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9029347" y="3689656"/>
            <a:ext cx="680956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3" name="Zástupný symbol pro text 7">
            <a:extLst>
              <a:ext uri="{FF2B5EF4-FFF2-40B4-BE49-F238E27FC236}">
                <a16:creationId xmlns:a16="http://schemas.microsoft.com/office/drawing/2014/main" id="{46F171F3-96B8-5A4E-AA93-0ADA1FAFA4C6}"/>
              </a:ext>
            </a:extLst>
          </p:cNvPr>
          <p:cNvSpPr>
            <a:spLocks noGrp="1"/>
          </p:cNvSpPr>
          <p:nvPr>
            <p:ph type="body" sz="quarter" idx="48" hasCustomPrompt="1"/>
            <p:custDataLst>
              <p:tags r:id="rId16"/>
            </p:custDataLst>
          </p:nvPr>
        </p:nvSpPr>
        <p:spPr>
          <a:xfrm>
            <a:off x="9029743" y="3313740"/>
            <a:ext cx="2402113" cy="255288"/>
          </a:xfr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marL="171455" indent="-171455">
              <a:buFont typeface="Arial" pitchFamily="34" charset="0"/>
              <a:buNone/>
              <a:defRPr lang="en-US" sz="1100" b="0" i="0" u="none" cap="none" baseline="0" noProof="0" dirty="0" smtClean="0">
                <a:solidFill>
                  <a:schemeClr val="accent6"/>
                </a:solidFill>
                <a:latin typeface="Pepi" panose="02000503000000020004" pitchFamily="2" charset="0"/>
                <a:ea typeface="Pepi" panose="02000503000000020004" pitchFamily="2" charset="0"/>
                <a:cs typeface="Pepi" panose="02000503000000020004" pitchFamily="2" charset="0"/>
              </a:defRPr>
            </a:lvl1pPr>
          </a:lstStyle>
          <a:p>
            <a:pPr marL="0" lvl="0" indent="0"/>
            <a:r>
              <a:rPr lang="en-GB" noProof="0" dirty="0" err="1"/>
              <a:t>Funkc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499844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F46F454-1984-4200-9BCC-0CDA57763E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DAA3BF37-BE5B-408E-9935-D89032F1C93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7F7E4404-4E58-4416-BB28-52639174D2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B763E-2071-4F71-A1E7-E8CACC19917E}" type="datetimeFigureOut">
              <a:rPr lang="cs-CZ" smtClean="0"/>
              <a:t>10.10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AFC5FEE-0818-4B24-85C3-836A5E096A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36FFDB7-9151-438A-A7A6-B4623239E1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92FFA-83C8-48DA-9F9F-39611D54636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776638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7B83F0-B89E-4E2B-8988-2935587DBE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3E0B80E-4C66-44DE-9ED1-514D61B4EF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461E452-8F17-4116-BA8E-5124777D2E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B763E-2071-4F71-A1E7-E8CACC19917E}" type="datetimeFigureOut">
              <a:rPr lang="cs-CZ" smtClean="0"/>
              <a:t>10.10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35DF991-305C-4A81-B185-BE8A15FC39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26C527B-7FA3-4654-9678-E0A3C1CF82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92FFA-83C8-48DA-9F9F-39611D54636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879070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6A995EA-E99E-4AFE-9B16-419F788383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71ABD548-5E41-4F2C-8B69-4387E7B0F0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C63C426C-5C83-4CCB-B48E-83A1840A542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17AD07D3-2C49-44A8-A227-B78A64FD3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B763E-2071-4F71-A1E7-E8CACC19917E}" type="datetimeFigureOut">
              <a:rPr lang="cs-CZ" smtClean="0"/>
              <a:t>10.10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441EFFDC-604F-46E2-8888-4A80D9C858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CD36763-9C4E-4EEE-BD28-749AAD9C27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92FFA-83C8-48DA-9F9F-39611D54636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16385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F1123CF-8478-4E85-961F-05CD18CA85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E514DE6-4B8C-4D19-BCE1-00B9C09F09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E475C718-D99F-493B-8620-048F1B5F208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BB820B87-052D-4D2C-BD71-BAB8B5CE31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5C8BCC62-F459-4F55-80F9-6778209B27D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8F554492-BE83-48CE-9970-56FB6E8C9A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B763E-2071-4F71-A1E7-E8CACC19917E}" type="datetimeFigureOut">
              <a:rPr lang="cs-CZ" smtClean="0"/>
              <a:t>10.10.2023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51FE08CB-10FB-4D41-91BE-4687208D16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D80A64D-3F01-43BD-8696-736643FF08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92FFA-83C8-48DA-9F9F-39611D54636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232579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60AB550-7E82-4778-AED4-E8A9D52E6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23BCCD6F-A72C-4D3F-AF4B-CFEA596353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B763E-2071-4F71-A1E7-E8CACC19917E}" type="datetimeFigureOut">
              <a:rPr lang="cs-CZ" smtClean="0"/>
              <a:t>10.10.2023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DDB8A832-327A-4B6E-A30B-5E3D67F18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6D58651C-EFDC-4646-81C6-4ECE2684F8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92FFA-83C8-48DA-9F9F-39611D54636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584592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7F8C0F63-8836-4284-9D1B-32CFC8C07B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B763E-2071-4F71-A1E7-E8CACC19917E}" type="datetimeFigureOut">
              <a:rPr lang="cs-CZ" smtClean="0"/>
              <a:t>10.10.2023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7FFD8AEE-2EF2-4435-9A73-17DA2C240B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DC07D7B-36B0-49C1-9103-E2C13B1313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92FFA-83C8-48DA-9F9F-39611D54636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47426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17C318B-9F35-4A6D-A6DC-6873F27FCD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E14F7AB-9F9F-4C25-9F33-17E0C8B217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8C19FCBC-EE08-4227-BE6E-9477A68580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3CAD154-42CC-43EF-BC30-9B44F620D6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B763E-2071-4F71-A1E7-E8CACC19917E}" type="datetimeFigureOut">
              <a:rPr lang="cs-CZ" smtClean="0"/>
              <a:t>10.10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980BEB40-DEB5-4340-A920-C5627E4E6A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37069962-2932-4D05-9CDD-3813E31F0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92FFA-83C8-48DA-9F9F-39611D54636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543763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C27777E-DAB6-44E8-A08E-BE3324DB11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32C2FA10-AB42-40CD-9440-19A9714A790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4E295A0F-9EC4-4C30-A397-4FC1B45329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DFCB6BCE-395C-47A4-B735-A1E7F69E5D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B763E-2071-4F71-A1E7-E8CACC19917E}" type="datetimeFigureOut">
              <a:rPr lang="cs-CZ" smtClean="0"/>
              <a:t>10.10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FD3C196E-B50E-404A-BE47-5FEEC8A6EC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68B7658-3F94-4945-8AE3-295CD5E79C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92FFA-83C8-48DA-9F9F-39611D54636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326342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C9813F8D-1540-40A8-9A67-6D093176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8A35C86-8B41-4391-BA97-1D03572CBB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273943E-0FBA-474E-B9C8-547F8C22B7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4B763E-2071-4F71-A1E7-E8CACC19917E}" type="datetimeFigureOut">
              <a:rPr lang="cs-CZ" smtClean="0"/>
              <a:t>10.10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D3DE047-6113-42BF-8130-58C061A227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536A4A9-DC53-4581-B974-4750BB1D50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092FFA-83C8-48DA-9F9F-39611D54636E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32499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3" r:id="rId12"/>
    <p:sldLayoutId id="2147483664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sirt.cz/cs/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2A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4C9074-84EF-4BA9-9E2E-D1F88A0D6C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25866"/>
            <a:ext cx="9144000" cy="3806267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chemeClr val="bg1"/>
                </a:solidFill>
                <a:latin typeface="+mn-lt"/>
                <a:cs typeface="Myanmar Text" panose="020B0502040204020203" pitchFamily="34" charset="0"/>
              </a:rPr>
              <a:t>„Nová pravidla kyberbezpečnosti pro potravinářský průmysl“</a:t>
            </a:r>
            <a:br>
              <a:rPr lang="cs-CZ" sz="3600" b="1" dirty="0">
                <a:solidFill>
                  <a:schemeClr val="bg1"/>
                </a:solidFill>
                <a:latin typeface="+mn-lt"/>
                <a:cs typeface="Myanmar Text" panose="020B0502040204020203" pitchFamily="34" charset="0"/>
              </a:rPr>
            </a:br>
            <a:br>
              <a:rPr lang="cs-CZ" sz="3600" b="1" dirty="0">
                <a:solidFill>
                  <a:schemeClr val="bg1"/>
                </a:solidFill>
                <a:latin typeface="+mn-lt"/>
                <a:cs typeface="Myanmar Text" panose="020B0502040204020203" pitchFamily="34" charset="0"/>
              </a:rPr>
            </a:br>
            <a:br>
              <a:rPr lang="cs-CZ" sz="3600" b="1" dirty="0">
                <a:solidFill>
                  <a:schemeClr val="bg1"/>
                </a:solidFill>
                <a:latin typeface="+mn-lt"/>
                <a:cs typeface="Myanmar Text" panose="020B0502040204020203" pitchFamily="34" charset="0"/>
              </a:rPr>
            </a:br>
            <a:r>
              <a:rPr lang="cs-CZ" sz="3600" b="1" dirty="0">
                <a:solidFill>
                  <a:schemeClr val="bg1"/>
                </a:solidFill>
                <a:latin typeface="+mn-lt"/>
                <a:cs typeface="Myanmar Text" panose="020B0502040204020203" pitchFamily="34" charset="0"/>
              </a:rPr>
              <a:t>Marek Ondroušek</a:t>
            </a:r>
            <a:br>
              <a:rPr lang="cs-CZ" sz="3600" b="1" dirty="0">
                <a:solidFill>
                  <a:schemeClr val="bg1"/>
                </a:solidFill>
                <a:latin typeface="+mn-lt"/>
                <a:cs typeface="Myanmar Text" panose="020B0502040204020203" pitchFamily="34" charset="0"/>
              </a:rPr>
            </a:br>
            <a:endParaRPr lang="cs-CZ" sz="3600" b="1" dirty="0">
              <a:solidFill>
                <a:schemeClr val="bg1"/>
              </a:solidFill>
              <a:latin typeface="+mn-lt"/>
              <a:cs typeface="Myanmar Text" panose="020B0502040204020203" pitchFamily="34" charset="0"/>
            </a:endParaRP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6DF7CC40-3B08-0B0D-01BC-96FE14E714DA}"/>
              </a:ext>
            </a:extLst>
          </p:cNvPr>
          <p:cNvSpPr txBox="1">
            <a:spLocks/>
          </p:cNvSpPr>
          <p:nvPr/>
        </p:nvSpPr>
        <p:spPr>
          <a:xfrm>
            <a:off x="9420101" y="5842772"/>
            <a:ext cx="2495797" cy="6414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2800" b="1" dirty="0">
                <a:solidFill>
                  <a:schemeClr val="bg1"/>
                </a:solidFill>
                <a:latin typeface="+mn-lt"/>
                <a:cs typeface="Myanmar Text" panose="020B0502040204020203" pitchFamily="34" charset="0"/>
              </a:rPr>
              <a:t>10.10.2023</a:t>
            </a:r>
          </a:p>
        </p:txBody>
      </p:sp>
    </p:spTree>
    <p:extLst>
      <p:ext uri="{BB962C8B-B14F-4D97-AF65-F5344CB8AC3E}">
        <p14:creationId xmlns:p14="http://schemas.microsoft.com/office/powerpoint/2010/main" val="9337026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Zástupný obsah 2">
            <a:extLst>
              <a:ext uri="{FF2B5EF4-FFF2-40B4-BE49-F238E27FC236}">
                <a16:creationId xmlns:a16="http://schemas.microsoft.com/office/drawing/2014/main" id="{BD2EB60F-07B2-11DB-B88B-88620F51C0B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14947790"/>
              </p:ext>
            </p:extLst>
          </p:nvPr>
        </p:nvGraphicFramePr>
        <p:xfrm>
          <a:off x="695727" y="1253331"/>
          <a:ext cx="10515600" cy="51252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Zástupný text 4">
            <a:extLst>
              <a:ext uri="{FF2B5EF4-FFF2-40B4-BE49-F238E27FC236}">
                <a16:creationId xmlns:a16="http://schemas.microsoft.com/office/drawing/2014/main" id="{10C194E9-952C-0E21-A037-44BF75219617}"/>
              </a:ext>
            </a:extLst>
          </p:cNvPr>
          <p:cNvSpPr txBox="1">
            <a:spLocks/>
          </p:cNvSpPr>
          <p:nvPr/>
        </p:nvSpPr>
        <p:spPr>
          <a:xfrm>
            <a:off x="695727" y="479449"/>
            <a:ext cx="10801348" cy="424904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b="1" dirty="0"/>
              <a:t>Návrh zákona o kybernetické bezpečnosti se zaměřením na potravinářství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31042402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Zástupný obsah 2">
            <a:extLst>
              <a:ext uri="{FF2B5EF4-FFF2-40B4-BE49-F238E27FC236}">
                <a16:creationId xmlns:a16="http://schemas.microsoft.com/office/drawing/2014/main" id="{BD2EB60F-07B2-11DB-B88B-88620F51C0B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70068307"/>
              </p:ext>
            </p:extLst>
          </p:nvPr>
        </p:nvGraphicFramePr>
        <p:xfrm>
          <a:off x="695727" y="1253331"/>
          <a:ext cx="10515600" cy="51252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Zástupný text 4">
            <a:extLst>
              <a:ext uri="{FF2B5EF4-FFF2-40B4-BE49-F238E27FC236}">
                <a16:creationId xmlns:a16="http://schemas.microsoft.com/office/drawing/2014/main" id="{10C194E9-952C-0E21-A037-44BF75219617}"/>
              </a:ext>
            </a:extLst>
          </p:cNvPr>
          <p:cNvSpPr txBox="1">
            <a:spLocks/>
          </p:cNvSpPr>
          <p:nvPr/>
        </p:nvSpPr>
        <p:spPr>
          <a:xfrm>
            <a:off x="695727" y="479449"/>
            <a:ext cx="10801348" cy="424904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b="1" dirty="0"/>
              <a:t>Návrh zákona o kybernetické bezpečnosti se zaměřením na potravinářství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1099895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F2A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4C9074-84EF-4BA9-9E2E-D1F88A0D6C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25866"/>
            <a:ext cx="9144000" cy="3806267"/>
          </a:xfrm>
        </p:spPr>
        <p:txBody>
          <a:bodyPr>
            <a:normAutofit/>
          </a:bodyPr>
          <a:lstStyle/>
          <a:p>
            <a:r>
              <a:rPr lang="cs-CZ" sz="3600" b="1" dirty="0">
                <a:solidFill>
                  <a:schemeClr val="bg1"/>
                </a:solidFill>
                <a:latin typeface="+mn-lt"/>
                <a:cs typeface="Myanmar Text" panose="020B0502040204020203" pitchFamily="34" charset="0"/>
              </a:rPr>
              <a:t>Děkuji za pozornost</a:t>
            </a:r>
            <a:br>
              <a:rPr lang="cs-CZ" sz="3600" b="1" dirty="0">
                <a:solidFill>
                  <a:schemeClr val="bg1"/>
                </a:solidFill>
                <a:latin typeface="+mn-lt"/>
                <a:cs typeface="Myanmar Text" panose="020B0502040204020203" pitchFamily="34" charset="0"/>
              </a:rPr>
            </a:br>
            <a:br>
              <a:rPr lang="cs-CZ" sz="3600" b="1" dirty="0">
                <a:solidFill>
                  <a:schemeClr val="bg1"/>
                </a:solidFill>
                <a:latin typeface="+mn-lt"/>
                <a:cs typeface="Myanmar Text" panose="020B0502040204020203" pitchFamily="34" charset="0"/>
              </a:rPr>
            </a:br>
            <a:br>
              <a:rPr lang="cs-CZ" sz="3600" b="1" dirty="0">
                <a:solidFill>
                  <a:schemeClr val="bg1"/>
                </a:solidFill>
                <a:latin typeface="+mn-lt"/>
                <a:cs typeface="Myanmar Text" panose="020B0502040204020203" pitchFamily="34" charset="0"/>
              </a:rPr>
            </a:br>
            <a:r>
              <a:rPr lang="cs-CZ" sz="3600" b="1" dirty="0">
                <a:solidFill>
                  <a:schemeClr val="bg1"/>
                </a:solidFill>
                <a:latin typeface="+mn-lt"/>
                <a:cs typeface="Myanmar Text" panose="020B0502040204020203" pitchFamily="34" charset="0"/>
              </a:rPr>
              <a:t>Marek Ondroušek</a:t>
            </a:r>
            <a:br>
              <a:rPr lang="cs-CZ" sz="3600" b="1" dirty="0">
                <a:solidFill>
                  <a:schemeClr val="bg1"/>
                </a:solidFill>
                <a:latin typeface="+mn-lt"/>
                <a:cs typeface="Myanmar Text" panose="020B0502040204020203" pitchFamily="34" charset="0"/>
              </a:rPr>
            </a:br>
            <a:endParaRPr lang="cs-CZ" sz="3600" b="1" dirty="0">
              <a:solidFill>
                <a:schemeClr val="bg1"/>
              </a:solidFill>
              <a:latin typeface="+mn-lt"/>
              <a:cs typeface="Myanmar Text" panose="020B0502040204020203" pitchFamily="34" charset="0"/>
            </a:endParaRP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6DF7CC40-3B08-0B0D-01BC-96FE14E714DA}"/>
              </a:ext>
            </a:extLst>
          </p:cNvPr>
          <p:cNvSpPr txBox="1">
            <a:spLocks/>
          </p:cNvSpPr>
          <p:nvPr/>
        </p:nvSpPr>
        <p:spPr>
          <a:xfrm>
            <a:off x="9420101" y="5842772"/>
            <a:ext cx="2495797" cy="6414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2800" b="1" dirty="0">
                <a:solidFill>
                  <a:schemeClr val="bg1"/>
                </a:solidFill>
                <a:latin typeface="+mn-lt"/>
                <a:cs typeface="Myanmar Text" panose="020B0502040204020203" pitchFamily="34" charset="0"/>
              </a:rPr>
              <a:t>10.10.2023</a:t>
            </a:r>
          </a:p>
        </p:txBody>
      </p:sp>
    </p:spTree>
    <p:extLst>
      <p:ext uri="{BB962C8B-B14F-4D97-AF65-F5344CB8AC3E}">
        <p14:creationId xmlns:p14="http://schemas.microsoft.com/office/powerpoint/2010/main" val="28531669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text 4">
            <a:extLst>
              <a:ext uri="{FF2B5EF4-FFF2-40B4-BE49-F238E27FC236}">
                <a16:creationId xmlns:a16="http://schemas.microsoft.com/office/drawing/2014/main" id="{10C194E9-952C-0E21-A037-44BF75219617}"/>
              </a:ext>
            </a:extLst>
          </p:cNvPr>
          <p:cNvSpPr txBox="1">
            <a:spLocks/>
          </p:cNvSpPr>
          <p:nvPr/>
        </p:nvSpPr>
        <p:spPr>
          <a:xfrm>
            <a:off x="695727" y="479449"/>
            <a:ext cx="10801348" cy="424904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b="1" dirty="0"/>
              <a:t>Návrh zákona o kybernetické bezpečnosti se zaměřením na potravinářství</a:t>
            </a:r>
            <a:endParaRPr lang="cs-CZ" b="1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B5E8CB38-75A4-C5F3-BEAE-4CC1AB8636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101" y="1710288"/>
            <a:ext cx="3885708" cy="3090312"/>
          </a:xfrm>
          <a:prstGeom prst="rect">
            <a:avLst/>
          </a:prstGeom>
        </p:spPr>
      </p:pic>
      <p:graphicFrame>
        <p:nvGraphicFramePr>
          <p:cNvPr id="6" name="Zástupný obsah 3">
            <a:extLst>
              <a:ext uri="{FF2B5EF4-FFF2-40B4-BE49-F238E27FC236}">
                <a16:creationId xmlns:a16="http://schemas.microsoft.com/office/drawing/2014/main" id="{78D4F390-38B4-72BC-EDE1-A006C083726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59271075"/>
              </p:ext>
            </p:extLst>
          </p:nvPr>
        </p:nvGraphicFramePr>
        <p:xfrm>
          <a:off x="4512075" y="1092200"/>
          <a:ext cx="7387824" cy="52863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6248088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37905270-2194-4ECE-B34E-492CC6BC96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727" y="1253331"/>
            <a:ext cx="10515600" cy="4351338"/>
          </a:xfrm>
        </p:spPr>
        <p:txBody>
          <a:bodyPr/>
          <a:lstStyle/>
          <a:p>
            <a:r>
              <a:rPr lang="cs-CZ" b="1" dirty="0"/>
              <a:t>Účel Směrnice NIS2 a česká právní úprava:</a:t>
            </a:r>
          </a:p>
          <a:p>
            <a:r>
              <a:rPr lang="cs-CZ" sz="2400" dirty="0"/>
              <a:t>Hlavním cílem zavedení směrnice NIS2 je řešení nedostatečného zabezpečení v oblasti kybernetické bezpečnosti u podniků a institucí působících v rámci Evropské unie a také sjednocení standardů v jednotlivých členských státech.</a:t>
            </a:r>
          </a:p>
          <a:p>
            <a:endParaRPr lang="cs-CZ" sz="2400" dirty="0"/>
          </a:p>
          <a:p>
            <a:r>
              <a:rPr lang="cs-CZ" sz="2400" dirty="0"/>
              <a:t>V České republice je tato oblast v současné době upravena zákonem č. 181/2014 Sb. o kybernetické bezpečnosti a o změně souvisejících zákonů, ve znění pozdějších předpisů (dále jen "Zákon o kybernetické bezpečnosti"). Nicméně, v souladu se Směrnicí NIS2 by měl být tento zákon novelizován, aby splňoval požadavky směrnice, a to v rámci procesu transpozice.</a:t>
            </a:r>
          </a:p>
        </p:txBody>
      </p:sp>
      <p:sp>
        <p:nvSpPr>
          <p:cNvPr id="9" name="Zástupný text 4">
            <a:extLst>
              <a:ext uri="{FF2B5EF4-FFF2-40B4-BE49-F238E27FC236}">
                <a16:creationId xmlns:a16="http://schemas.microsoft.com/office/drawing/2014/main" id="{10C194E9-952C-0E21-A037-44BF75219617}"/>
              </a:ext>
            </a:extLst>
          </p:cNvPr>
          <p:cNvSpPr txBox="1">
            <a:spLocks/>
          </p:cNvSpPr>
          <p:nvPr/>
        </p:nvSpPr>
        <p:spPr>
          <a:xfrm>
            <a:off x="695727" y="479449"/>
            <a:ext cx="10801348" cy="424904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pt-BR" b="1" dirty="0"/>
              <a:t>Návrh zákona o kybernetické bezpečnosti se zaměřením na potravinářství</a:t>
            </a:r>
            <a:endParaRPr lang="cs-CZ" b="1" dirty="0"/>
          </a:p>
        </p:txBody>
      </p:sp>
    </p:spTree>
    <p:extLst>
      <p:ext uri="{BB962C8B-B14F-4D97-AF65-F5344CB8AC3E}">
        <p14:creationId xmlns:p14="http://schemas.microsoft.com/office/powerpoint/2010/main" val="37100506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text 4">
            <a:extLst>
              <a:ext uri="{FF2B5EF4-FFF2-40B4-BE49-F238E27FC236}">
                <a16:creationId xmlns:a16="http://schemas.microsoft.com/office/drawing/2014/main" id="{10C194E9-952C-0E21-A037-44BF75219617}"/>
              </a:ext>
            </a:extLst>
          </p:cNvPr>
          <p:cNvSpPr txBox="1">
            <a:spLocks/>
          </p:cNvSpPr>
          <p:nvPr/>
        </p:nvSpPr>
        <p:spPr>
          <a:xfrm>
            <a:off x="695727" y="479449"/>
            <a:ext cx="10801348" cy="424904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b="1" dirty="0"/>
              <a:t>Potravinářský průmysl a regulované služby – NIS2  a novela </a:t>
            </a:r>
            <a:r>
              <a:rPr lang="cs-CZ" b="1" dirty="0" err="1"/>
              <a:t>ZoKB</a:t>
            </a:r>
            <a:endParaRPr lang="cs-CZ" b="1" dirty="0"/>
          </a:p>
        </p:txBody>
      </p:sp>
      <p:graphicFrame>
        <p:nvGraphicFramePr>
          <p:cNvPr id="11" name="Zástupný obsah 3">
            <a:extLst>
              <a:ext uri="{FF2B5EF4-FFF2-40B4-BE49-F238E27FC236}">
                <a16:creationId xmlns:a16="http://schemas.microsoft.com/office/drawing/2014/main" id="{04E6B813-5EBF-A050-6DE1-5C3BC19E5B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43826581"/>
              </p:ext>
            </p:extLst>
          </p:nvPr>
        </p:nvGraphicFramePr>
        <p:xfrm>
          <a:off x="6510866" y="1066800"/>
          <a:ext cx="5173133" cy="45909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Obrázok 6">
            <a:extLst>
              <a:ext uri="{FF2B5EF4-FFF2-40B4-BE49-F238E27FC236}">
                <a16:creationId xmlns:a16="http://schemas.microsoft.com/office/drawing/2014/main" id="{F74EEE63-8422-BA82-F1A9-AD9B5051D6D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0958" y="1036093"/>
            <a:ext cx="5715042" cy="4133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5410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text 4">
            <a:extLst>
              <a:ext uri="{FF2B5EF4-FFF2-40B4-BE49-F238E27FC236}">
                <a16:creationId xmlns:a16="http://schemas.microsoft.com/office/drawing/2014/main" id="{10C194E9-952C-0E21-A037-44BF75219617}"/>
              </a:ext>
            </a:extLst>
          </p:cNvPr>
          <p:cNvSpPr txBox="1">
            <a:spLocks/>
          </p:cNvSpPr>
          <p:nvPr/>
        </p:nvSpPr>
        <p:spPr>
          <a:xfrm>
            <a:off x="695727" y="479449"/>
            <a:ext cx="10801348" cy="424904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b="1" dirty="0"/>
              <a:t>Potravinářský průmysl a regulované služby</a:t>
            </a:r>
          </a:p>
        </p:txBody>
      </p:sp>
      <p:sp>
        <p:nvSpPr>
          <p:cNvPr id="7" name="Zástupný obsah 3">
            <a:extLst>
              <a:ext uri="{FF2B5EF4-FFF2-40B4-BE49-F238E27FC236}">
                <a16:creationId xmlns:a16="http://schemas.microsoft.com/office/drawing/2014/main" id="{6DAB519B-2DEB-0D9C-5824-6C180DA5E8A5}"/>
              </a:ext>
            </a:extLst>
          </p:cNvPr>
          <p:cNvSpPr txBox="1">
            <a:spLocks/>
          </p:cNvSpPr>
          <p:nvPr/>
        </p:nvSpPr>
        <p:spPr>
          <a:xfrm>
            <a:off x="6096000" y="1435296"/>
            <a:ext cx="5311879" cy="4457504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indent="-171450">
              <a:lnSpc>
                <a:spcPct val="110000"/>
              </a:lnSpc>
              <a:buFont typeface="Wingdings" pitchFamily="2" charset="2"/>
              <a:buChar char="§"/>
            </a:pPr>
            <a:r>
              <a:rPr lang="cs-CZ" sz="1800" dirty="0">
                <a:solidFill>
                  <a:srgbClr val="1F2A43"/>
                </a:solidFill>
              </a:rPr>
              <a:t>Definice středního a velkého podniku je stanovena v Doporučení Komise </a:t>
            </a:r>
            <a:r>
              <a:rPr lang="cs-CZ" sz="1800" b="1" dirty="0">
                <a:solidFill>
                  <a:srgbClr val="1F2A43"/>
                </a:solidFill>
              </a:rPr>
              <a:t>2003/361/ES z 6. května 2003 </a:t>
            </a:r>
            <a:r>
              <a:rPr lang="cs-CZ" sz="1800" dirty="0">
                <a:solidFill>
                  <a:srgbClr val="1F2A43"/>
                </a:solidFill>
              </a:rPr>
              <a:t>jedná se o podniky:</a:t>
            </a:r>
          </a:p>
          <a:p>
            <a:pPr marL="7938" indent="0">
              <a:lnSpc>
                <a:spcPct val="110000"/>
              </a:lnSpc>
              <a:buNone/>
            </a:pPr>
            <a:r>
              <a:rPr lang="cs-CZ" sz="1800" b="1" dirty="0">
                <a:solidFill>
                  <a:srgbClr val="1F2A43"/>
                </a:solidFill>
              </a:rPr>
              <a:t>STŘEDNÍ:</a:t>
            </a:r>
          </a:p>
          <a:p>
            <a:pPr marL="179388" indent="-171450">
              <a:lnSpc>
                <a:spcPct val="110000"/>
              </a:lnSpc>
              <a:buFont typeface="Wingdings" pitchFamily="2" charset="2"/>
              <a:buChar char="§"/>
            </a:pPr>
            <a:r>
              <a:rPr lang="cs-CZ" sz="1800" dirty="0">
                <a:solidFill>
                  <a:srgbClr val="1F2A43"/>
                </a:solidFill>
              </a:rPr>
              <a:t>zaměstnávají </a:t>
            </a:r>
            <a:r>
              <a:rPr lang="cs-CZ" sz="1800" b="1" u="sng" dirty="0">
                <a:solidFill>
                  <a:srgbClr val="1F2A43"/>
                </a:solidFill>
              </a:rPr>
              <a:t>50 a více zaměstnanců</a:t>
            </a:r>
            <a:r>
              <a:rPr lang="cs-CZ" sz="1800" dirty="0">
                <a:solidFill>
                  <a:srgbClr val="1F2A43"/>
                </a:solidFill>
              </a:rPr>
              <a:t>, a dosahují ročního obratu </a:t>
            </a:r>
            <a:r>
              <a:rPr lang="cs-CZ" sz="1800" b="1" dirty="0">
                <a:solidFill>
                  <a:srgbClr val="1F2A43"/>
                </a:solidFill>
              </a:rPr>
              <a:t>nebo</a:t>
            </a:r>
            <a:r>
              <a:rPr lang="cs-CZ" sz="1800" dirty="0">
                <a:solidFill>
                  <a:srgbClr val="1F2A43"/>
                </a:solidFill>
              </a:rPr>
              <a:t> bilanční sumy roční rozvahy </a:t>
            </a:r>
            <a:r>
              <a:rPr lang="cs-CZ" sz="1800" b="1" u="sng" dirty="0">
                <a:solidFill>
                  <a:srgbClr val="1F2A43"/>
                </a:solidFill>
              </a:rPr>
              <a:t>alespoň 10 milionů EUR. </a:t>
            </a:r>
          </a:p>
          <a:p>
            <a:pPr marL="7938" indent="0">
              <a:lnSpc>
                <a:spcPct val="110000"/>
              </a:lnSpc>
              <a:buNone/>
            </a:pPr>
            <a:r>
              <a:rPr lang="cs-CZ" sz="1800" b="1" dirty="0">
                <a:solidFill>
                  <a:srgbClr val="1F2A43"/>
                </a:solidFill>
              </a:rPr>
              <a:t>VELKÝ</a:t>
            </a:r>
          </a:p>
          <a:p>
            <a:pPr marL="179388" indent="-171450">
              <a:lnSpc>
                <a:spcPct val="110000"/>
              </a:lnSpc>
              <a:buFont typeface="Wingdings" pitchFamily="2" charset="2"/>
              <a:buChar char="§"/>
            </a:pPr>
            <a:r>
              <a:rPr lang="cs-CZ" sz="1800" dirty="0">
                <a:solidFill>
                  <a:srgbClr val="1F2A43"/>
                </a:solidFill>
              </a:rPr>
              <a:t>zaměstnávají </a:t>
            </a:r>
            <a:r>
              <a:rPr lang="cs-CZ" sz="1800" b="1" u="sng" dirty="0">
                <a:solidFill>
                  <a:srgbClr val="1F2A43"/>
                </a:solidFill>
              </a:rPr>
              <a:t>250 a více zaměstnanců</a:t>
            </a:r>
            <a:r>
              <a:rPr lang="cs-CZ" sz="1800">
                <a:solidFill>
                  <a:srgbClr val="1F2A43"/>
                </a:solidFill>
              </a:rPr>
              <a:t>, a </a:t>
            </a:r>
            <a:r>
              <a:rPr lang="cs-CZ" sz="1800" dirty="0">
                <a:solidFill>
                  <a:srgbClr val="1F2A43"/>
                </a:solidFill>
              </a:rPr>
              <a:t>dosahují ročního obratu nebo bilanční sumy roční rozvahy </a:t>
            </a:r>
            <a:r>
              <a:rPr lang="cs-CZ" sz="1800" b="1" u="sng" dirty="0">
                <a:solidFill>
                  <a:srgbClr val="1F2A43"/>
                </a:solidFill>
              </a:rPr>
              <a:t>alespoň 50 milionů EUR. </a:t>
            </a:r>
          </a:p>
          <a:p>
            <a:pPr marL="7938" indent="0">
              <a:lnSpc>
                <a:spcPct val="110000"/>
              </a:lnSpc>
              <a:buNone/>
            </a:pPr>
            <a:endParaRPr lang="cs-CZ" sz="1600" b="1" dirty="0">
              <a:solidFill>
                <a:srgbClr val="1F2A43"/>
              </a:solidFill>
            </a:endParaRP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C3E1F047-A47D-5B3C-E555-91EC422FA4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939" y="1435296"/>
            <a:ext cx="5630061" cy="1390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9401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37905270-2194-4ECE-B34E-492CC6BC96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727" y="1253331"/>
            <a:ext cx="10515600" cy="526622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2400" b="1" dirty="0"/>
              <a:t>Potravinářské podniky budou mít dle novely </a:t>
            </a:r>
            <a:r>
              <a:rPr lang="cs-CZ" sz="2400" b="1" dirty="0" err="1"/>
              <a:t>ZoKB</a:t>
            </a:r>
            <a:r>
              <a:rPr lang="cs-CZ" sz="2400" b="1" dirty="0"/>
              <a:t> zejména následující povinnosti:</a:t>
            </a:r>
          </a:p>
          <a:p>
            <a:pPr marL="0" indent="0">
              <a:buNone/>
            </a:pPr>
            <a:endParaRPr lang="cs-CZ" sz="2400" b="1" dirty="0"/>
          </a:p>
          <a:p>
            <a:pPr algn="l">
              <a:buFont typeface="Arial" panose="020B0604020202020204" pitchFamily="34" charset="0"/>
              <a:buChar char="•"/>
            </a:pPr>
            <a:r>
              <a:rPr lang="cs-CZ" sz="2000" u="sng" dirty="0">
                <a:latin typeface="SpartanMB-Regular"/>
              </a:rPr>
              <a:t>z</a:t>
            </a:r>
            <a:r>
              <a:rPr lang="cs-CZ" sz="2000" b="0" i="0" u="sng" dirty="0">
                <a:effectLst/>
                <a:latin typeface="SpartanMB-Regular"/>
              </a:rPr>
              <a:t>aregistrovat se </a:t>
            </a:r>
            <a:r>
              <a:rPr lang="cs-CZ" sz="2000" b="0" i="0" dirty="0">
                <a:effectLst/>
                <a:latin typeface="SpartanMB-Regular"/>
              </a:rPr>
              <a:t>na portálu NÚKIB a uvést svoje kontaktní a další údaje;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cs-CZ" sz="2000" b="0" i="0" u="sng" dirty="0">
                <a:effectLst/>
                <a:latin typeface="SpartanMB-Regular"/>
              </a:rPr>
              <a:t>stanovit rozsah řízení kybernetické bezpečnosti, </a:t>
            </a:r>
            <a:r>
              <a:rPr lang="cs-CZ" sz="2000" b="0" i="0" dirty="0">
                <a:effectLst/>
                <a:latin typeface="SpartanMB-Regular"/>
              </a:rPr>
              <a:t>pokud organizace tento krok neprovede považuje se za rozsah řízení celá organizace;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cs-CZ" sz="2000" b="0" i="0" dirty="0">
                <a:effectLst/>
                <a:latin typeface="SpartanMB-Regular"/>
              </a:rPr>
              <a:t>zavádět bezpečnostní opatření – souvisí s navrhovanou vyhláškou o bezpečnostních opatřeních pro poskytovatele regulované služby v režimu nižších povinností,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cs-CZ" sz="2000" b="0" i="0" u="sng" dirty="0">
                <a:effectLst/>
                <a:latin typeface="SpartanMB-Regular"/>
              </a:rPr>
              <a:t>hlásit kybernetické bezpečnostní incidenty</a:t>
            </a:r>
            <a:r>
              <a:rPr lang="cs-CZ" sz="2000" b="0" i="0" dirty="0">
                <a:effectLst/>
                <a:latin typeface="SpartanMB-Regular"/>
              </a:rPr>
              <a:t>, a to v případě režimu nižších povinností pouze takové, které organizace vyhodnotí jako významné;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cs-CZ" sz="2000" b="0" i="0" u="sng" dirty="0">
                <a:effectLst/>
                <a:latin typeface="SpartanMB-Regular"/>
              </a:rPr>
              <a:t>informovat zákazníky o incidentech a hrozbách</a:t>
            </a:r>
            <a:r>
              <a:rPr lang="cs-CZ" sz="2000" b="0" i="0" dirty="0">
                <a:effectLst/>
                <a:latin typeface="SpartanMB-Regular"/>
              </a:rPr>
              <a:t>; 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cs-CZ" sz="2000" b="0" i="0" u="sng" dirty="0">
                <a:effectLst/>
                <a:latin typeface="SpartanMB-Regular"/>
              </a:rPr>
              <a:t>provádět protiopatření</a:t>
            </a:r>
            <a:r>
              <a:rPr lang="cs-CZ" sz="2000" b="0" i="0" dirty="0">
                <a:effectLst/>
                <a:latin typeface="SpartanMB-Regular"/>
              </a:rPr>
              <a:t>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cs-CZ" sz="2000" b="0" i="0" dirty="0">
                <a:effectLst/>
                <a:latin typeface="SpartanMB-Regular"/>
              </a:rPr>
              <a:t>podřídit se výkonu kontroly inspektorem v případě poskytovatelů regulované služby v režimu nižších povinností – souvisí s navrhovanou vyhláškou o inspektorech.</a:t>
            </a:r>
          </a:p>
        </p:txBody>
      </p:sp>
      <p:sp>
        <p:nvSpPr>
          <p:cNvPr id="9" name="Zástupný text 4">
            <a:extLst>
              <a:ext uri="{FF2B5EF4-FFF2-40B4-BE49-F238E27FC236}">
                <a16:creationId xmlns:a16="http://schemas.microsoft.com/office/drawing/2014/main" id="{10C194E9-952C-0E21-A037-44BF75219617}"/>
              </a:ext>
            </a:extLst>
          </p:cNvPr>
          <p:cNvSpPr txBox="1">
            <a:spLocks/>
          </p:cNvSpPr>
          <p:nvPr/>
        </p:nvSpPr>
        <p:spPr>
          <a:xfrm>
            <a:off x="695727" y="479449"/>
            <a:ext cx="10801348" cy="424904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b="1" dirty="0"/>
              <a:t>Povinnosti subjektů regulované služby</a:t>
            </a:r>
          </a:p>
        </p:txBody>
      </p:sp>
    </p:spTree>
    <p:extLst>
      <p:ext uri="{BB962C8B-B14F-4D97-AF65-F5344CB8AC3E}">
        <p14:creationId xmlns:p14="http://schemas.microsoft.com/office/powerpoint/2010/main" val="21159061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37905270-2194-4ECE-B34E-492CC6BC96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727" y="1253330"/>
            <a:ext cx="10515600" cy="549036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2400" b="1" dirty="0"/>
              <a:t>Opatření k řízení rizik v oblasti kybernetické bezpečnosti:</a:t>
            </a:r>
          </a:p>
          <a:p>
            <a:pPr marL="0" indent="0">
              <a:buNone/>
            </a:pPr>
            <a:endParaRPr lang="cs-CZ" sz="2400" b="1" dirty="0"/>
          </a:p>
          <a:p>
            <a:r>
              <a:rPr lang="cs-CZ" sz="2000" dirty="0"/>
              <a:t>analýza rizik a politiku bezpečnosti informačních systémů</a:t>
            </a:r>
          </a:p>
          <a:p>
            <a:r>
              <a:rPr lang="cs-CZ" sz="2000" dirty="0"/>
              <a:t>řešení incidentů (prevence a odhalování incidentů a reakce na ně);</a:t>
            </a:r>
          </a:p>
          <a:p>
            <a:r>
              <a:rPr lang="cs-CZ" sz="2000" dirty="0"/>
              <a:t>řízení kontinuity provozu a krizové řízení;</a:t>
            </a:r>
          </a:p>
          <a:p>
            <a:r>
              <a:rPr lang="cs-CZ" sz="2000" dirty="0"/>
              <a:t>bezpečnost v rámci dodavatelského řetězce, včetně bezpečnosti ve vztazích mezi subjektem a jeho dodavateli a poskytovateli služeb;</a:t>
            </a:r>
          </a:p>
          <a:p>
            <a:r>
              <a:rPr lang="cs-CZ" sz="2000" dirty="0"/>
              <a:t>zabezpečení pořizování, vývoje  a údržby sítě a informačních systémů, včetně zveřejňování informací o zranitelnostech a jejich řešení;</a:t>
            </a:r>
          </a:p>
          <a:p>
            <a:r>
              <a:rPr lang="cs-CZ" sz="2000" dirty="0"/>
              <a:t>politiky a postupy (testování a audit) za účelem posouzení účelnosti opatření k řízení rizik v oblasti kybernetické bezpečnosti;</a:t>
            </a:r>
          </a:p>
          <a:p>
            <a:r>
              <a:rPr lang="cs-CZ" sz="2000" dirty="0"/>
              <a:t>používání kryptografie a šifrování.</a:t>
            </a:r>
          </a:p>
          <a:p>
            <a:r>
              <a:rPr lang="cs-CZ" sz="2000" dirty="0"/>
              <a:t>bezpečnost lidských zdrojů, řízení přístupů a aktiv;</a:t>
            </a:r>
          </a:p>
        </p:txBody>
      </p:sp>
      <p:sp>
        <p:nvSpPr>
          <p:cNvPr id="9" name="Zástupný text 4">
            <a:extLst>
              <a:ext uri="{FF2B5EF4-FFF2-40B4-BE49-F238E27FC236}">
                <a16:creationId xmlns:a16="http://schemas.microsoft.com/office/drawing/2014/main" id="{10C194E9-952C-0E21-A037-44BF75219617}"/>
              </a:ext>
            </a:extLst>
          </p:cNvPr>
          <p:cNvSpPr txBox="1">
            <a:spLocks/>
          </p:cNvSpPr>
          <p:nvPr/>
        </p:nvSpPr>
        <p:spPr>
          <a:xfrm>
            <a:off x="695727" y="479449"/>
            <a:ext cx="10801348" cy="424904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b="1" dirty="0"/>
              <a:t>Povinnosti subjektů regulované služby</a:t>
            </a:r>
          </a:p>
        </p:txBody>
      </p:sp>
    </p:spTree>
    <p:extLst>
      <p:ext uri="{BB962C8B-B14F-4D97-AF65-F5344CB8AC3E}">
        <p14:creationId xmlns:p14="http://schemas.microsoft.com/office/powerpoint/2010/main" val="7022911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37905270-2194-4ECE-B34E-492CC6BC96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727" y="1253330"/>
            <a:ext cx="10515600" cy="549036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2400" b="1" dirty="0"/>
              <a:t>Incidenty a jejich hlášení</a:t>
            </a:r>
          </a:p>
          <a:p>
            <a:r>
              <a:rPr lang="cs-CZ" sz="2000" dirty="0"/>
              <a:t>Jedno z nejvýznamnějších opatření pro zajištění bezpečnosti je prevence, detekce a řešení bezpečnostních incidentů. Pokud dojde k porušení bezpečnosti informací vztahujících se k regulovanému servisu, může dojít k kybernetickému bezpečnostnímu incidentu. Taková událost může ohrozit soukromí, dostupnost, celistvost a autenticitu uložených, přenášených nebo zpracovávaných dat nebo služeb.</a:t>
            </a:r>
          </a:p>
          <a:p>
            <a:r>
              <a:rPr lang="cs-CZ" sz="2000" dirty="0"/>
              <a:t>Subjekty budou mít povinnost hlásit výše popsané incidenty stanovenému týmu CERT, resp. CSIRT, a to bez zbytečného odkladu (nejpozději do 24 hodin) od jeho zjištění</a:t>
            </a:r>
          </a:p>
          <a:p>
            <a:r>
              <a:rPr lang="cs-CZ" sz="2000" dirty="0"/>
              <a:t>CSIRT - CSIRT.CZ je Národní CSIRT České republiky. Je provozován sdružením CZ.NIC dle veřejnoprávní smlouvy a Zákona o kybernetické bezpečnosti. </a:t>
            </a:r>
          </a:p>
          <a:p>
            <a:pPr marL="0" indent="0">
              <a:buNone/>
            </a:pPr>
            <a:r>
              <a:rPr lang="cs-CZ" sz="2000" dirty="0">
                <a:hlinkClick r:id="rId3"/>
              </a:rPr>
              <a:t>https://www.csirt.cz/cs/</a:t>
            </a:r>
            <a:endParaRPr lang="cs-CZ" sz="2000" dirty="0"/>
          </a:p>
          <a:p>
            <a:r>
              <a:rPr lang="cs-CZ" sz="2000" dirty="0"/>
              <a:t>Národní úřad pro kybernetickou a informační bezpečnost (NÚKIB) plánuje vytvořit jednotnou platformu v České republice, aby zlepšil přehlednost komunikace a sjednotil hlášení incidentů. Tato platforma bude sloužit k registraci povinných subjektů, podávání hlášení o incidentech a komunikaci s NÚKIB a případně s dalšími relevantními úřady.</a:t>
            </a:r>
          </a:p>
          <a:p>
            <a:pPr marL="0" indent="0">
              <a:buNone/>
            </a:pPr>
            <a:endParaRPr lang="cs-CZ" sz="2000" dirty="0"/>
          </a:p>
          <a:p>
            <a:pPr marL="0" indent="0">
              <a:buNone/>
            </a:pPr>
            <a:endParaRPr lang="cs-CZ" sz="2000" dirty="0"/>
          </a:p>
          <a:p>
            <a:pPr marL="0" indent="0">
              <a:buNone/>
            </a:pPr>
            <a:endParaRPr lang="cs-CZ" sz="2000" dirty="0"/>
          </a:p>
          <a:p>
            <a:endParaRPr lang="cs-CZ" sz="2000" dirty="0"/>
          </a:p>
          <a:p>
            <a:pPr marL="0" indent="0">
              <a:buNone/>
            </a:pPr>
            <a:endParaRPr lang="cs-CZ" sz="2400" dirty="0"/>
          </a:p>
        </p:txBody>
      </p:sp>
      <p:sp>
        <p:nvSpPr>
          <p:cNvPr id="9" name="Zástupný text 4">
            <a:extLst>
              <a:ext uri="{FF2B5EF4-FFF2-40B4-BE49-F238E27FC236}">
                <a16:creationId xmlns:a16="http://schemas.microsoft.com/office/drawing/2014/main" id="{10C194E9-952C-0E21-A037-44BF75219617}"/>
              </a:ext>
            </a:extLst>
          </p:cNvPr>
          <p:cNvSpPr txBox="1">
            <a:spLocks/>
          </p:cNvSpPr>
          <p:nvPr/>
        </p:nvSpPr>
        <p:spPr>
          <a:xfrm>
            <a:off x="695727" y="479449"/>
            <a:ext cx="10801348" cy="424904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b="1" dirty="0"/>
              <a:t>Povinnosti subjektů regulované služby</a:t>
            </a:r>
          </a:p>
        </p:txBody>
      </p:sp>
    </p:spTree>
    <p:extLst>
      <p:ext uri="{BB962C8B-B14F-4D97-AF65-F5344CB8AC3E}">
        <p14:creationId xmlns:p14="http://schemas.microsoft.com/office/powerpoint/2010/main" val="1106551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37905270-2194-4ECE-B34E-492CC6BC96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727" y="1253331"/>
            <a:ext cx="10515600" cy="526622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2400" b="1" dirty="0"/>
              <a:t>Kontrola a sankce </a:t>
            </a:r>
          </a:p>
          <a:p>
            <a:r>
              <a:rPr lang="cs-CZ" sz="2000" b="1" dirty="0"/>
              <a:t>Dozorové úřady budou mít v rámci kontroly a dohledu nad kybernetickou bezpečností značné pravomoci, včetně možnosti použít kontrolní a donucovací prostředky</a:t>
            </a:r>
            <a:r>
              <a:rPr lang="cs-CZ" sz="2000" dirty="0"/>
              <a:t>. Tyto prostředky mohou zahrnovat </a:t>
            </a:r>
            <a:r>
              <a:rPr lang="cs-CZ" sz="2000" b="1" dirty="0"/>
              <a:t>například bezpečnostní audity, kontroly na místě, žádosti o informace, zpřístupnění dat nebo doložení zavedení bezpečnostních politik. </a:t>
            </a:r>
            <a:r>
              <a:rPr lang="cs-CZ" sz="2000" dirty="0"/>
              <a:t>V případě nedostatků bude dozorový orgán mít pravomoc vydávat závazné pokyny a příkazy k nápravě nedostatků, nařídit úpravu chování a bezpečnostních opatření. Pokud kontrola a dohled nepovedou k napravení nedostatků</a:t>
            </a:r>
            <a:r>
              <a:rPr lang="cs-CZ" sz="2000" b="1" dirty="0"/>
              <a:t>, dozorový orgán může zvážit další kroky, včetně dočasného pozastavení certifikací nebo licencí subjektům umožňujících vykonávat regulovanou činnost. </a:t>
            </a:r>
            <a:r>
              <a:rPr lang="cs-CZ" sz="2000" dirty="0"/>
              <a:t>V případě </a:t>
            </a:r>
            <a:r>
              <a:rPr lang="cs-CZ" sz="2000" b="1" dirty="0"/>
              <a:t>závažných nedostatků může být dokonce požadováno soudní rozhodnutí, aby konkrétní fyzická osoba v řídící pozici byla dočasně zbavena práva vykonávat řídící funkce v regulovaném subjektu.</a:t>
            </a:r>
          </a:p>
          <a:p>
            <a:r>
              <a:rPr lang="cs-CZ" sz="2000" dirty="0"/>
              <a:t>Návrh směrnice NIS2 určuje maximální výši pokut. Pokud se jedná o základní subjekty, tak horní hranice pokuty bude stanovena na 10 milionů EUR nebo 2 % z celosvětového obratu (podle toho, která částka bude vyšší). Pro důležité subjekty bude horní hranice pokuty stanovena na 7 milionů EUR nebo 1,4 % z celosvětového obratu.</a:t>
            </a:r>
          </a:p>
          <a:p>
            <a:endParaRPr lang="cs-CZ" sz="2000" b="1" dirty="0"/>
          </a:p>
          <a:p>
            <a:endParaRPr lang="cs-CZ" sz="2000" b="1" dirty="0"/>
          </a:p>
          <a:p>
            <a:endParaRPr lang="cs-CZ" dirty="0"/>
          </a:p>
          <a:p>
            <a:endParaRPr lang="cs-CZ" dirty="0"/>
          </a:p>
        </p:txBody>
      </p:sp>
      <p:sp>
        <p:nvSpPr>
          <p:cNvPr id="9" name="Zástupný text 4">
            <a:extLst>
              <a:ext uri="{FF2B5EF4-FFF2-40B4-BE49-F238E27FC236}">
                <a16:creationId xmlns:a16="http://schemas.microsoft.com/office/drawing/2014/main" id="{10C194E9-952C-0E21-A037-44BF75219617}"/>
              </a:ext>
            </a:extLst>
          </p:cNvPr>
          <p:cNvSpPr txBox="1">
            <a:spLocks/>
          </p:cNvSpPr>
          <p:nvPr/>
        </p:nvSpPr>
        <p:spPr>
          <a:xfrm>
            <a:off x="695727" y="479449"/>
            <a:ext cx="10801348" cy="424904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b="1" dirty="0"/>
              <a:t>Povinnosti subjektů regulované služby</a:t>
            </a:r>
          </a:p>
        </p:txBody>
      </p:sp>
    </p:spTree>
    <p:extLst>
      <p:ext uri="{BB962C8B-B14F-4D97-AF65-F5344CB8AC3E}">
        <p14:creationId xmlns:p14="http://schemas.microsoft.com/office/powerpoint/2010/main" val="13704478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bjDfB6a0msyYfO7dkw9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Fk7nAlPUiTctxtPPlYO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bjDfB6a0msyYfO7dkw9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69QlBrlEy1_InaLWhJ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69QlBrlEy1_InaLWhJ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69QlBrlEy1_InaLWhJ8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bjDfB6a0msyYfO7dkw9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bjDfB6a0msyYfO7dkw9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69QlBrlEy1_InaLWhJ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bjDfB6a0msyYfO7dkw9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69QlBrlEy1_InaLWhJ8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bjDfB6a0msyYfO7dkw9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69QlBrlEy1_InaLWhJ8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69QlBrlEy1_InaLWhJ8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bjDfB6a0msyYfO7dkw9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69QlBrlEy1_InaLWhJ8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69QlBrlEy1_InaLWhJ8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69QlBrlEy1_InaLWhJ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bjDfB6a0msyYfO7dkw9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69QlBrlEy1_InaLWhJ8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bjDfB6a0msyYfO7dkw9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69QlBrlEy1_InaLWhJ8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Fk7nAlPUiTctxtPPlY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69QlBrlEy1_InaLWhJ8g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í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48</TotalTime>
  <Words>1158</Words>
  <Application>Microsoft Office PowerPoint</Application>
  <PresentationFormat>Širokoúhlá obrazovka</PresentationFormat>
  <Paragraphs>86</Paragraphs>
  <Slides>12</Slides>
  <Notes>12</Notes>
  <HiddenSlides>0</HiddenSlides>
  <MMClips>0</MMClips>
  <ScaleCrop>false</ScaleCrop>
  <HeadingPairs>
    <vt:vector size="8" baseType="variant">
      <vt:variant>
        <vt:lpstr>Použitá písma</vt:lpstr>
      </vt:variant>
      <vt:variant>
        <vt:i4>6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2</vt:i4>
      </vt:variant>
    </vt:vector>
  </HeadingPairs>
  <TitlesOfParts>
    <vt:vector size="20" baseType="lpstr">
      <vt:lpstr>Arial</vt:lpstr>
      <vt:lpstr>Calibri</vt:lpstr>
      <vt:lpstr>Calibri Light</vt:lpstr>
      <vt:lpstr>Pepi</vt:lpstr>
      <vt:lpstr>SpartanMB-Regular</vt:lpstr>
      <vt:lpstr>Wingdings</vt:lpstr>
      <vt:lpstr>Motiv Office</vt:lpstr>
      <vt:lpstr>think-cell Slide</vt:lpstr>
      <vt:lpstr>„Nová pravidla kyberbezpečnosti pro potravinářský průmysl“   Marek Ondroušek 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ěkuji za pozornost   Marek Ondroušek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KT  Smart 4 Water</dc:title>
  <dc:creator>Marek Ondroušek</dc:creator>
  <cp:lastModifiedBy>Radoslav Linner</cp:lastModifiedBy>
  <cp:revision>10</cp:revision>
  <dcterms:created xsi:type="dcterms:W3CDTF">2020-08-03T10:32:10Z</dcterms:created>
  <dcterms:modified xsi:type="dcterms:W3CDTF">2023-10-10T10:44:32Z</dcterms:modified>
</cp:coreProperties>
</file>